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6"/>
  </p:notesMasterIdLst>
  <p:sldIdLst>
    <p:sldId id="424" r:id="rId2"/>
    <p:sldId id="414" r:id="rId3"/>
    <p:sldId id="426" r:id="rId4"/>
    <p:sldId id="427" r:id="rId5"/>
    <p:sldId id="433" r:id="rId6"/>
    <p:sldId id="454" r:id="rId7"/>
    <p:sldId id="456" r:id="rId8"/>
    <p:sldId id="455" r:id="rId9"/>
    <p:sldId id="457" r:id="rId10"/>
    <p:sldId id="458" r:id="rId11"/>
    <p:sldId id="459" r:id="rId12"/>
    <p:sldId id="460" r:id="rId13"/>
    <p:sldId id="461" r:id="rId14"/>
    <p:sldId id="462" r:id="rId15"/>
    <p:sldId id="445" r:id="rId16"/>
    <p:sldId id="463" r:id="rId17"/>
    <p:sldId id="464" r:id="rId18"/>
    <p:sldId id="465" r:id="rId19"/>
    <p:sldId id="469" r:id="rId20"/>
    <p:sldId id="423" r:id="rId21"/>
    <p:sldId id="467" r:id="rId22"/>
    <p:sldId id="466" r:id="rId23"/>
    <p:sldId id="425" r:id="rId24"/>
    <p:sldId id="452" r:id="rId25"/>
  </p:sldIdLst>
  <p:sldSz cx="12192000" cy="6858000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111111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61" d="100"/>
          <a:sy n="61" d="100"/>
        </p:scale>
        <p:origin x="88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576BCD-40EF-45C0-B506-3A54BE2D2994}" type="datetimeFigureOut">
              <a:rPr lang="pl-PL" smtClean="0"/>
              <a:t>20.10.2024</a:t>
            </a:fld>
            <a:endParaRPr lang="pl-P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959E25-548E-42D4-AD64-F0AC6A98FAB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76433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959E25-548E-42D4-AD64-F0AC6A98FABB}" type="slidenum">
              <a:rPr lang="pl-PL" smtClean="0"/>
              <a:t>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816402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959E25-548E-42D4-AD64-F0AC6A98FABB}" type="slidenum">
              <a:rPr lang="pl-PL" smtClean="0"/>
              <a:t>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23494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959E25-548E-42D4-AD64-F0AC6A98FABB}" type="slidenum">
              <a:rPr lang="pl-PL" smtClean="0"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456463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959E25-548E-42D4-AD64-F0AC6A98FABB}" type="slidenum">
              <a:rPr lang="pl-PL" smtClean="0"/>
              <a:t>2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25884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36550" y="1411288"/>
            <a:ext cx="11520488" cy="3313112"/>
          </a:xfrm>
        </p:spPr>
        <p:txBody>
          <a:bodyPr rIns="0" bIns="144000" anchor="b"/>
          <a:lstStyle>
            <a:lvl1pPr algn="ctr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Presentation title </a:t>
            </a:r>
            <a:br>
              <a:rPr lang="en-GB" noProof="0" dirty="0"/>
            </a:br>
            <a:r>
              <a:rPr lang="en-GB" noProof="0" dirty="0"/>
              <a:t>with a maximum </a:t>
            </a:r>
            <a:br>
              <a:rPr lang="en-GB" noProof="0" dirty="0"/>
            </a:br>
            <a:r>
              <a:rPr lang="en-GB" noProof="0" dirty="0"/>
              <a:t>of three line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251684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9pPr>
          </a:lstStyle>
          <a:p>
            <a:r>
              <a:rPr lang="en-GB" noProof="0" dirty="0" err="1"/>
              <a:t>Subtitle</a:t>
            </a:r>
            <a:endParaRPr lang="en-GB" noProof="0" dirty="0"/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GB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9B8A9EC-5AE1-4C2A-BBEE-518EA4E035A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 wrap="none"/>
          <a:lstStyle/>
          <a:p>
            <a:fld id="{F32E0DA4-9D14-45E9-B894-62446E731005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F6EECD-F0A5-46EC-82DC-A250C2AA7F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3F6537-555F-452F-82FA-B188EF50A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 wrap="none"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</p:spTree>
    <p:extLst>
      <p:ext uri="{BB962C8B-B14F-4D97-AF65-F5344CB8AC3E}">
        <p14:creationId xmlns:p14="http://schemas.microsoft.com/office/powerpoint/2010/main" val="4095422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2838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5F01BF3-5E3B-4F8E-AB3B-E070AB6B021B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075CB274-3C07-457F-8657-83B1ABA0F075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C1E8F5-1397-40A5-BFBE-A95E21862C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15F1C2-5BA9-4DB4-96CD-50E2D6AFA0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CF5491CC-BC46-4FAF-8941-63A9EDD159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8"/>
            <a:ext cx="3743325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A815259B-F024-43CC-A198-7A0FD63493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224338" y="1411288"/>
            <a:ext cx="3743325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C7C123BB-7B12-4D15-B032-4C6DF2CDB1C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113713" y="1411288"/>
            <a:ext cx="3743325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8986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5526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5F01BF3-5E3B-4F8E-AB3B-E070AB6B021B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524DFDCC-52D4-4568-A4DE-44685962A981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C1E8F5-1397-40A5-BFBE-A95E21862C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15F1C2-5BA9-4DB4-96CD-50E2D6AFA0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65C92D5E-BAAA-4905-80BA-1716901F5A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9"/>
            <a:ext cx="3743325" cy="2449512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71B1F06B-EC08-416F-AAA1-411EE8FDAD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224338" y="1411289"/>
            <a:ext cx="3743325" cy="2449512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FF263A0A-5B2A-46E3-96AF-64D01FB467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113713" y="1411289"/>
            <a:ext cx="3743325" cy="2449512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F57CC67B-5299-44AE-9A67-0821F16B02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36550" y="4005263"/>
            <a:ext cx="3743325" cy="2449512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1C28694A-CE82-4FA0-A5F9-9E2D3E32D25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224338" y="4005263"/>
            <a:ext cx="3743325" cy="2449512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5DC14125-2FF9-4F77-8D9A-CE2533E3801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113713" y="4005263"/>
            <a:ext cx="3743325" cy="2449512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43183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8FCD488-FFFB-C9FF-980B-FF682F3A7CC9}"/>
              </a:ext>
            </a:extLst>
          </p:cNvPr>
          <p:cNvSpPr/>
          <p:nvPr userDrawn="1"/>
        </p:nvSpPr>
        <p:spPr bwMode="gray">
          <a:xfrm>
            <a:off x="11500842" y="239316"/>
            <a:ext cx="467915" cy="4012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CH" sz="1200" b="1" dirty="0" err="1">
              <a:solidFill>
                <a:schemeClr val="bg1"/>
              </a:solidFill>
            </a:endParaRPr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F34628A-9FDF-4CC5-8075-404915653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762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F34628A-9FDF-4CC5-8075-404915653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DB4EBAE-7EE0-4A7F-BCB2-9B2864E73D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12124" y="0"/>
            <a:ext cx="4079875" cy="6453188"/>
          </a:xfrm>
          <a:noFill/>
        </p:spPr>
        <p:txBody>
          <a:bodyPr lIns="468000" tIns="0" rIns="46800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Make sure that the logo is in the foreground and choose petrol as the logo </a:t>
            </a:r>
            <a:r>
              <a:rPr lang="en-GB" noProof="0" dirty="0" err="1"/>
              <a:t>colour</a:t>
            </a:r>
            <a:r>
              <a:rPr lang="en-GB" noProof="0" dirty="0"/>
              <a:t> for light images.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en-GB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59D8B67-F448-4FDD-984D-6E7554F5E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49" y="1"/>
            <a:ext cx="7631113" cy="1125538"/>
          </a:xfrm>
        </p:spPr>
        <p:txBody>
          <a:bodyPr vert="horz" rIns="0"/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1DA9E7-F5BE-4A84-8E7B-D736D9ED935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211E932C-9DB1-4CFC-B8F5-F1C4235AECDF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2384B9A-4174-4D9D-9EF8-E59B4C9515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1FA5FD0-3E85-4292-A0CE-868AE00072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A18482F0-D25F-485F-A038-1D3375E1D7E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6550" y="1411288"/>
            <a:ext cx="7631106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97092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F1797264-1827-0C83-AA06-67DCF762E92C}"/>
              </a:ext>
            </a:extLst>
          </p:cNvPr>
          <p:cNvSpPr/>
          <p:nvPr userDrawn="1"/>
        </p:nvSpPr>
        <p:spPr bwMode="gray">
          <a:xfrm>
            <a:off x="11500842" y="239316"/>
            <a:ext cx="467915" cy="4012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CH" sz="1200" b="1" dirty="0" err="1">
              <a:solidFill>
                <a:schemeClr val="bg1"/>
              </a:solidFill>
            </a:endParaRPr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F34628A-9FDF-4CC5-8075-404915653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7670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F34628A-9FDF-4CC5-8075-404915653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DB4EBAE-7EE0-4A7F-BCB2-9B2864E73D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67438" y="0"/>
            <a:ext cx="6024562" cy="6453188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Make sure that the logo is in the foreground and choose petrol as the logo </a:t>
            </a:r>
            <a:r>
              <a:rPr lang="en-GB" noProof="0" dirty="0" err="1"/>
              <a:t>colour</a:t>
            </a:r>
            <a:r>
              <a:rPr lang="en-GB" noProof="0" dirty="0"/>
              <a:t> for light images.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en-GB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59D8B67-F448-4FDD-984D-6E7554F5E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0" y="1"/>
            <a:ext cx="5688012" cy="1125538"/>
          </a:xfrm>
        </p:spPr>
        <p:txBody>
          <a:bodyPr vert="horz" rIns="0"/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7DAB839-6EDD-4178-BE8E-588EF7241AAC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DCAED0FA-0B09-42AD-9A8A-DC5649D204E6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7DBB78D-8B69-45E8-8385-9B8830A13C0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35C623B-FA1D-4980-87F5-04FA7F9DBE1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687DD334-3B2F-492A-B1F9-37793F971B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6550" y="1411288"/>
            <a:ext cx="5688012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804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Full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3D84946B-E163-4ADA-8A99-DC1319431949}"/>
              </a:ext>
            </a:extLst>
          </p:cNvPr>
          <p:cNvSpPr/>
          <p:nvPr userDrawn="1"/>
        </p:nvSpPr>
        <p:spPr bwMode="gray">
          <a:xfrm>
            <a:off x="0" y="0"/>
            <a:ext cx="12192000" cy="64531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200" b="1">
              <a:solidFill>
                <a:schemeClr val="bg1"/>
              </a:solidFill>
            </a:endParaRP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CEC443DD-2BF6-4B18-84D7-A28FE56FF2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453188"/>
          </a:xfrm>
          <a:solidFill>
            <a:schemeClr val="accent1"/>
          </a:solidFill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Make sure that the logo is in the foreground and choose petrol as the logo </a:t>
            </a:r>
            <a:r>
              <a:rPr lang="en-GB" noProof="0" dirty="0" err="1"/>
              <a:t>colour</a:t>
            </a:r>
            <a:r>
              <a:rPr lang="en-GB" noProof="0" dirty="0"/>
              <a:t> for light images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2F830EA-47C1-4965-BD05-B1B8E92212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22437" y="1412876"/>
            <a:ext cx="7218363" cy="331152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None/>
              <a:defRPr sz="4800" b="1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ClrTx/>
              <a:buNone/>
              <a:defRPr>
                <a:solidFill>
                  <a:schemeClr val="bg1"/>
                </a:solidFill>
              </a:defRPr>
            </a:lvl2pPr>
            <a:lvl3pPr marL="180000" indent="-180000"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Insert highlight </a:t>
            </a:r>
            <a:r>
              <a:rPr lang="en-GB" noProof="0" dirty="0" err="1"/>
              <a:t>text</a:t>
            </a:r>
            <a:endParaRPr lang="en-GB" noProof="0" dirty="0"/>
          </a:p>
          <a:p>
            <a:pPr lvl="1"/>
            <a:r>
              <a:rPr lang="en-GB" noProof="0" dirty="0"/>
              <a:t>Second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2"/>
            <a:r>
              <a:rPr lang="en-GB" noProof="0" dirty="0"/>
              <a:t>Third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3"/>
            <a:r>
              <a:rPr lang="en-GB" noProof="0" dirty="0" err="1"/>
              <a:t>Fourth</a:t>
            </a:r>
            <a:r>
              <a:rPr lang="en-GB" noProof="0" dirty="0"/>
              <a:t>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en-GB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CF53ED3-38A7-4F5B-8F74-CF94F11AE3B5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10A4D872-A6A8-4D18-8FD5-945D552D6C50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DB4A587-2B48-47E5-8FC8-FCC736BF5F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9E580F-6707-42B3-AB53-A8B38B0BBB5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CF59287-810C-47D8-BAD6-E90E56A6D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722436" y="836613"/>
            <a:ext cx="5094289" cy="574675"/>
          </a:xfrm>
        </p:spPr>
        <p:txBody>
          <a:bodyPr tIns="144000" rIns="0"/>
          <a:lstStyle>
            <a:lvl1pPr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er </a:t>
            </a:r>
            <a:r>
              <a:rPr lang="en-GB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35468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to edit 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39F8313-33FD-4E54-9C04-0EC406D5A9EF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67438" y="1411288"/>
            <a:ext cx="2773363" cy="5041899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FE7000F-F103-49B3-A2C9-FE901A2D341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9083674" y="1411288"/>
            <a:ext cx="2773363" cy="5041899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9094ED5F-72E2-4E12-8A00-EC304260D7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8"/>
            <a:ext cx="5688013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68985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to edit 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B9157EE-3266-424D-A39B-C5DE0EE3D4FC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251201" y="1411287"/>
            <a:ext cx="2771774" cy="5041899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FE7000F-F103-49B3-A2C9-FE901A2D341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67438" y="1411287"/>
            <a:ext cx="2771774" cy="5041899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6018F24F-3A27-42DA-B136-26A31096759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083675" y="1411287"/>
            <a:ext cx="2771774" cy="5041899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7CE806B6-1279-4030-A8DE-41213B965F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8"/>
            <a:ext cx="2770188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16487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to edit 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C7431E3-ED97-4EF9-8CB2-629C822DEE24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11518899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</p:spTree>
    <p:extLst>
      <p:ext uri="{BB962C8B-B14F-4D97-AF65-F5344CB8AC3E}">
        <p14:creationId xmlns:p14="http://schemas.microsoft.com/office/powerpoint/2010/main" val="22018414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to edit 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9C4EA64-644D-46C6-B492-7640B02B342F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5688011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7" name="Bildplatzhalter 8">
            <a:extLst>
              <a:ext uri="{FF2B5EF4-FFF2-40B4-BE49-F238E27FC236}">
                <a16:creationId xmlns:a16="http://schemas.microsoft.com/office/drawing/2014/main" id="{B1A47615-1FA6-4D87-AF71-A2E9F981AA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67437" y="1411288"/>
            <a:ext cx="5688011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</p:spTree>
    <p:extLst>
      <p:ext uri="{BB962C8B-B14F-4D97-AF65-F5344CB8AC3E}">
        <p14:creationId xmlns:p14="http://schemas.microsoft.com/office/powerpoint/2010/main" val="14237349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to edit 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F7C2248-6F5E-486D-9AEE-6661FA607F79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1" y="1411288"/>
            <a:ext cx="3743324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7" name="Bildplatzhalter 8">
            <a:extLst>
              <a:ext uri="{FF2B5EF4-FFF2-40B4-BE49-F238E27FC236}">
                <a16:creationId xmlns:a16="http://schemas.microsoft.com/office/drawing/2014/main" id="{B1A47615-1FA6-4D87-AF71-A2E9F981AA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24338" y="1411288"/>
            <a:ext cx="3743324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3EAD474-945A-49D3-BA33-F439607C587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12126" y="1411288"/>
            <a:ext cx="3743324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</p:spTree>
    <p:extLst>
      <p:ext uri="{BB962C8B-B14F-4D97-AF65-F5344CB8AC3E}">
        <p14:creationId xmlns:p14="http://schemas.microsoft.com/office/powerpoint/2010/main" val="944201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Petrol /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invGray">
          <a:xfrm>
            <a:off x="336550" y="1412874"/>
            <a:ext cx="11518895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bg1"/>
                </a:solidFill>
              </a:defRPr>
            </a:lvl1pPr>
          </a:lstStyle>
          <a:p>
            <a:r>
              <a:rPr lang="pl-PL" noProof="0" dirty="0" err="1"/>
              <a:t>asdasdfadsfasdf</a:t>
            </a:r>
            <a:endParaRPr lang="en-GB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invGray">
          <a:xfrm>
            <a:off x="3251684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inv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GB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E7008C-2C7E-41ED-9F05-C6A0BDF77AA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4A7667-4667-4754-9280-5E174C7D6767}" type="datetime1">
              <a:rPr lang="en-GB" noProof="0" smtClean="0"/>
              <a:t>20/10/2024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C2CF0B-622F-4545-BE11-8DDD05100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E393D8-FCE9-4E38-87AE-611557F6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4710278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to edit 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3665818-7BDB-4A32-AFD6-2FAE5DE2E0A6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2773155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7" name="Bildplatzhalter 8">
            <a:extLst>
              <a:ext uri="{FF2B5EF4-FFF2-40B4-BE49-F238E27FC236}">
                <a16:creationId xmlns:a16="http://schemas.microsoft.com/office/drawing/2014/main" id="{B1A47615-1FA6-4D87-AF71-A2E9F981AA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51407" y="1411288"/>
            <a:ext cx="2773155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3EAD474-945A-49D3-BA33-F439607C587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67437" y="1411288"/>
            <a:ext cx="2773155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20157F93-CAFF-4A26-B7A5-93B3E4E943B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082568" y="1411288"/>
            <a:ext cx="2773155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</p:spTree>
    <p:extLst>
      <p:ext uri="{BB962C8B-B14F-4D97-AF65-F5344CB8AC3E}">
        <p14:creationId xmlns:p14="http://schemas.microsoft.com/office/powerpoint/2010/main" val="28573157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x Pictur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to edit 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9265B16-7486-4F62-A7D1-C585DB5206F8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9A623B57-1102-44D9-B1B6-4E17A68D932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1" y="1411288"/>
            <a:ext cx="3743324" cy="2449512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A82A0161-3FE9-4403-AE5C-565B29333E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24338" y="1411288"/>
            <a:ext cx="3743324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C24B0E04-EF03-4201-BA65-AA421A728B0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12126" y="1411288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A058E0CE-3B5A-4CBE-95CF-704E229BEC3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6551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22" name="Bildplatzhalter 8">
            <a:extLst>
              <a:ext uri="{FF2B5EF4-FFF2-40B4-BE49-F238E27FC236}">
                <a16:creationId xmlns:a16="http://schemas.microsoft.com/office/drawing/2014/main" id="{78CDFF39-B853-4D83-8433-E4559C62694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12126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</p:spTree>
    <p:extLst>
      <p:ext uri="{BB962C8B-B14F-4D97-AF65-F5344CB8AC3E}">
        <p14:creationId xmlns:p14="http://schemas.microsoft.com/office/powerpoint/2010/main" val="5004160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to edit 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8B43E70-F17A-415C-86E5-DB5E6730FBB8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4EF8E4A7-B965-4790-8BDD-1E1DF4817A0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1" y="1411288"/>
            <a:ext cx="3743324" cy="2449512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C3A95073-1B51-4ADF-8F96-E4C84B1101F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24338" y="1411288"/>
            <a:ext cx="3743324" cy="2449512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5F59BAA5-C9C9-49A1-BBE9-B7C98BB1589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12126" y="1411288"/>
            <a:ext cx="3743324" cy="2449512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E6CF86C4-B871-4E6C-A72D-FE10F8E4213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6551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7" name="Bildplatzhalter 8">
            <a:extLst>
              <a:ext uri="{FF2B5EF4-FFF2-40B4-BE49-F238E27FC236}">
                <a16:creationId xmlns:a16="http://schemas.microsoft.com/office/drawing/2014/main" id="{3C2A06D1-8FFB-41EA-BF69-68EEC7702D2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4338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2C8BF51C-A7F1-4507-BB17-25073365B25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8112126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</p:spTree>
    <p:extLst>
      <p:ext uri="{BB962C8B-B14F-4D97-AF65-F5344CB8AC3E}">
        <p14:creationId xmlns:p14="http://schemas.microsoft.com/office/powerpoint/2010/main" val="18106135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E8E5B0D-9C22-438C-8C31-4E9389D516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278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E8E5B0D-9C22-438C-8C31-4E9389D516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0816DA9D-D2BE-4E0E-A5A8-8715DF27BE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6550" y="0"/>
            <a:ext cx="11518900" cy="4004667"/>
          </a:xfrm>
        </p:spPr>
        <p:txBody>
          <a:bodyPr wrap="square" anchor="b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20000" b="1">
                <a:solidFill>
                  <a:schemeClr val="accent2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20000" b="1">
                <a:solidFill>
                  <a:schemeClr val="accent2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100%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51200" y="5155606"/>
            <a:ext cx="5689600" cy="1297582"/>
          </a:xfrm>
        </p:spPr>
        <p:txBody>
          <a:bodyPr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Click </a:t>
            </a:r>
            <a:r>
              <a:rPr lang="en-GB" dirty="0" err="1"/>
              <a:t>to</a:t>
            </a:r>
            <a:r>
              <a:rPr lang="en-GB" dirty="0"/>
              <a:t> </a:t>
            </a:r>
            <a:r>
              <a:rPr lang="en-GB" dirty="0" err="1"/>
              <a:t>edit</a:t>
            </a:r>
            <a:r>
              <a:rPr lang="en-GB" dirty="0"/>
              <a:t> </a:t>
            </a:r>
            <a:r>
              <a:rPr lang="en-GB" dirty="0" err="1"/>
              <a:t>text</a:t>
            </a:r>
            <a:endParaRPr lang="en-GB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7AC2E15-C1F4-4005-BE2B-EEE437719B68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695A59BA-62C0-4B72-B753-E29332E0C30B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F9BD44-96D2-4326-8E57-5D0B294639B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945491B-74AB-4CF6-9AC6-E80178BCE8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BB9208B-8121-464A-8899-BDC615593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251200" y="4004667"/>
            <a:ext cx="5689600" cy="1150939"/>
          </a:xfrm>
        </p:spPr>
        <p:txBody>
          <a:bodyPr tIns="0" rIns="0"/>
          <a:lstStyle>
            <a:lvl1pPr algn="ctr">
              <a:defRPr/>
            </a:lvl1pPr>
          </a:lstStyle>
          <a:p>
            <a:r>
              <a:rPr lang="en-GB" dirty="0"/>
              <a:t>Click </a:t>
            </a:r>
            <a:r>
              <a:rPr lang="en-GB" dirty="0" err="1"/>
              <a:t>to</a:t>
            </a:r>
            <a:r>
              <a:rPr lang="en-GB" dirty="0"/>
              <a:t> </a:t>
            </a:r>
            <a:r>
              <a:rPr lang="en-GB" dirty="0" err="1"/>
              <a:t>edit</a:t>
            </a:r>
            <a:r>
              <a:rPr lang="en-GB" dirty="0"/>
              <a:t> </a:t>
            </a:r>
            <a:r>
              <a:rPr lang="en-GB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36293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3E44ED3-CF40-4D39-A592-54FB189FA1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145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3E44ED3-CF40-4D39-A592-54FB189FA1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0816DA9D-D2BE-4E0E-A5A8-8715DF27BE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6550" y="1125538"/>
            <a:ext cx="5688013" cy="2303462"/>
          </a:xfrm>
        </p:spPr>
        <p:txBody>
          <a:bodyPr wrap="square" anchor="b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100%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6550" y="4724400"/>
            <a:ext cx="5688013" cy="1728788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Click </a:t>
            </a:r>
            <a:r>
              <a:rPr lang="en-GB" dirty="0" err="1"/>
              <a:t>to</a:t>
            </a:r>
            <a:r>
              <a:rPr lang="en-GB" dirty="0"/>
              <a:t> </a:t>
            </a:r>
            <a:r>
              <a:rPr lang="en-GB" dirty="0" err="1"/>
              <a:t>edit</a:t>
            </a:r>
            <a:r>
              <a:rPr lang="en-GB" dirty="0"/>
              <a:t> </a:t>
            </a:r>
            <a:r>
              <a:rPr lang="en-GB" dirty="0" err="1"/>
              <a:t>text</a:t>
            </a:r>
            <a:endParaRPr lang="en-GB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7AC2E15-C1F4-4005-BE2B-EEE437719B68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AC7CBDF8-A422-4043-8F8D-687A72F57381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F9BD44-96D2-4326-8E57-5D0B294639B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945491B-74AB-4CF6-9AC6-E80178BCE8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35BE10ED-69AC-4620-BD68-23B7AF9C487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36551" y="3429000"/>
            <a:ext cx="5688012" cy="1295400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/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Click </a:t>
            </a:r>
            <a:r>
              <a:rPr lang="en-GB" dirty="0" err="1"/>
              <a:t>to</a:t>
            </a:r>
            <a:r>
              <a:rPr lang="en-GB" dirty="0"/>
              <a:t> </a:t>
            </a:r>
            <a:r>
              <a:rPr lang="en-GB" dirty="0" err="1"/>
              <a:t>edit</a:t>
            </a:r>
            <a:r>
              <a:rPr lang="en-GB" dirty="0"/>
              <a:t> </a:t>
            </a:r>
            <a:r>
              <a:rPr lang="en-GB" dirty="0" err="1"/>
              <a:t>text</a:t>
            </a:r>
            <a:endParaRPr lang="en-GB" noProof="0" dirty="0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E1303003-72BC-4F2D-AABF-B4153A9F510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167439" y="1125538"/>
            <a:ext cx="5689600" cy="2303462"/>
          </a:xfrm>
        </p:spPr>
        <p:txBody>
          <a:bodyPr wrap="square" anchor="b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100%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2B6D0FF4-26E7-47A8-91E4-49520D1796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167438" y="4724400"/>
            <a:ext cx="5689600" cy="1728788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Click </a:t>
            </a:r>
            <a:r>
              <a:rPr lang="en-GB" dirty="0" err="1"/>
              <a:t>to</a:t>
            </a:r>
            <a:r>
              <a:rPr lang="en-GB" dirty="0"/>
              <a:t> </a:t>
            </a:r>
            <a:r>
              <a:rPr lang="en-GB" dirty="0" err="1"/>
              <a:t>edit</a:t>
            </a:r>
            <a:r>
              <a:rPr lang="en-GB" dirty="0"/>
              <a:t> </a:t>
            </a:r>
            <a:r>
              <a:rPr lang="en-GB" dirty="0" err="1"/>
              <a:t>text</a:t>
            </a:r>
            <a:endParaRPr lang="en-GB" noProof="0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961F0CB-55DD-4B93-BAC0-8CEB8FC904A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167438" y="3429000"/>
            <a:ext cx="5689600" cy="1295400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/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Click </a:t>
            </a:r>
            <a:r>
              <a:rPr lang="en-GB" dirty="0" err="1"/>
              <a:t>to</a:t>
            </a:r>
            <a:r>
              <a:rPr lang="en-GB" dirty="0"/>
              <a:t> </a:t>
            </a:r>
            <a:r>
              <a:rPr lang="en-GB" dirty="0" err="1"/>
              <a:t>edit</a:t>
            </a:r>
            <a:r>
              <a:rPr lang="en-GB" dirty="0"/>
              <a:t> </a:t>
            </a:r>
            <a:r>
              <a:rPr lang="en-GB" dirty="0" err="1"/>
              <a:t>text</a:t>
            </a:r>
            <a:endParaRPr lang="en-GB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99FEA71-D758-4C45-A4B8-27C089EE82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24595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5C1FFB7-E45A-487F-9DA5-4D1DFF6841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1" y="-1"/>
            <a:ext cx="11518898" cy="3428999"/>
          </a:xfrm>
        </p:spPr>
        <p:txBody>
          <a:bodyPr tIns="360000" rIns="0" anchor="b"/>
          <a:lstStyle>
            <a:lvl1pPr algn="ctr">
              <a:defRPr sz="4800"/>
            </a:lvl1pPr>
          </a:lstStyle>
          <a:p>
            <a:r>
              <a:rPr lang="en-GB" dirty="0"/>
              <a:t>„Quote“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24337" y="4293096"/>
            <a:ext cx="3743325" cy="575767"/>
          </a:xfr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noProof="0" dirty="0"/>
              <a:t>Name </a:t>
            </a:r>
            <a:r>
              <a:rPr lang="en-GB" noProof="0" dirty="0" err="1"/>
              <a:t>Surname</a:t>
            </a:r>
            <a:endParaRPr lang="en-GB" noProof="0" dirty="0"/>
          </a:p>
          <a:p>
            <a:pPr lvl="0"/>
            <a:r>
              <a:rPr lang="en-GB" noProof="0" dirty="0"/>
              <a:t>Position, Description, …</a:t>
            </a:r>
          </a:p>
        </p:txBody>
      </p:sp>
      <p:sp>
        <p:nvSpPr>
          <p:cNvPr id="11" name="Google Shape;192;p37">
            <a:extLst>
              <a:ext uri="{FF2B5EF4-FFF2-40B4-BE49-F238E27FC236}">
                <a16:creationId xmlns:a16="http://schemas.microsoft.com/office/drawing/2014/main" id="{52B73378-B483-470B-86EB-BAFC200D6F4B}"/>
              </a:ext>
            </a:extLst>
          </p:cNvPr>
          <p:cNvSpPr/>
          <p:nvPr userDrawn="1"/>
        </p:nvSpPr>
        <p:spPr bwMode="gray">
          <a:xfrm>
            <a:off x="5232000" y="3717032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GB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919CABA2-15F9-4631-B1E7-4880409683B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5521289" y="4869160"/>
            <a:ext cx="1152525" cy="1150937"/>
          </a:xfrm>
          <a:prstGeom prst="ellipse">
            <a:avLst/>
          </a:prstGeom>
          <a:noFill/>
        </p:spPr>
        <p:txBody>
          <a:bodyPr lIns="0" tIns="0" rIns="324000" bIns="576000" anchor="b"/>
          <a:lstStyle>
            <a:lvl1pPr marL="0" indent="0" algn="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76E2B5-E827-4327-8AF9-3BD1D72F0E92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BEE46B84-D4AE-401D-95E4-CD89DCAFD539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1343C8-5C6F-4A2A-91D5-C3CA7B2576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606464E-8FE7-4C45-8743-A0134C1832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</p:spTree>
    <p:extLst>
      <p:ext uri="{BB962C8B-B14F-4D97-AF65-F5344CB8AC3E}">
        <p14:creationId xmlns:p14="http://schemas.microsoft.com/office/powerpoint/2010/main" val="9273020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493CB55-B2EA-48C1-B7E1-DDEC6D84F98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solidFill>
            <a:schemeClr val="accent1"/>
          </a:solidFill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Make sure that the logo is in the foreground and choose petrol as the logo </a:t>
            </a:r>
            <a:r>
              <a:rPr lang="en-GB" noProof="0" dirty="0" err="1"/>
              <a:t>colour</a:t>
            </a:r>
            <a:r>
              <a:rPr lang="en-GB" noProof="0" dirty="0"/>
              <a:t> for light images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24339" y="4293096"/>
            <a:ext cx="3743324" cy="575767"/>
          </a:xfr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Name </a:t>
            </a:r>
            <a:r>
              <a:rPr lang="en-GB" noProof="0" dirty="0" err="1"/>
              <a:t>Surname</a:t>
            </a:r>
            <a:endParaRPr lang="en-GB" noProof="0" dirty="0"/>
          </a:p>
          <a:p>
            <a:pPr lvl="0"/>
            <a:r>
              <a:rPr lang="en-GB" noProof="0" dirty="0"/>
              <a:t>Position, Description, …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76E2B5-E827-4327-8AF9-3BD1D72F0E92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D8E586-DCB0-493C-B2CA-62756AEE2906}" type="datetime1">
              <a:rPr lang="en-GB" noProof="0" smtClean="0"/>
              <a:t>20/10/2024</a:t>
            </a:fld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1343C8-5C6F-4A2A-91D5-C3CA7B2576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ommerzbank AG, Max Mustermann, GM-C Brand Management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606464E-8FE7-4C45-8743-A0134C1832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10" name="SmartArt-Platzhalter 11">
            <a:extLst>
              <a:ext uri="{FF2B5EF4-FFF2-40B4-BE49-F238E27FC236}">
                <a16:creationId xmlns:a16="http://schemas.microsoft.com/office/drawing/2014/main" id="{10D8EF99-7F22-4D85-997D-CBFB7B4C7E48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en-GB" noProof="0" dirty="0"/>
          </a:p>
        </p:txBody>
      </p:sp>
      <p:sp>
        <p:nvSpPr>
          <p:cNvPr id="5" name="SmartArt-Platzhalter 4">
            <a:extLst>
              <a:ext uri="{FF2B5EF4-FFF2-40B4-BE49-F238E27FC236}">
                <a16:creationId xmlns:a16="http://schemas.microsoft.com/office/drawing/2014/main" id="{C921B45A-A21B-4806-B964-F27C7867625B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 bwMode="gray">
          <a:xfrm>
            <a:off x="5232001" y="3717032"/>
            <a:ext cx="1731102" cy="14242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noProof="0"/>
              <a:t> </a:t>
            </a:r>
          </a:p>
        </p:txBody>
      </p:sp>
      <p:sp>
        <p:nvSpPr>
          <p:cNvPr id="11" name="Titel 3">
            <a:extLst>
              <a:ext uri="{FF2B5EF4-FFF2-40B4-BE49-F238E27FC236}">
                <a16:creationId xmlns:a16="http://schemas.microsoft.com/office/drawing/2014/main" id="{2DC04B09-674F-42AE-99EC-BAFCE0C9A5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1" y="-1"/>
            <a:ext cx="11518898" cy="3428999"/>
          </a:xfrm>
        </p:spPr>
        <p:txBody>
          <a:bodyPr tIns="360000" rIns="0"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„Quote“</a:t>
            </a:r>
          </a:p>
        </p:txBody>
      </p:sp>
    </p:spTree>
    <p:extLst>
      <p:ext uri="{BB962C8B-B14F-4D97-AF65-F5344CB8AC3E}">
        <p14:creationId xmlns:p14="http://schemas.microsoft.com/office/powerpoint/2010/main" val="22945083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te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hidden">
          <a:xfrm>
            <a:off x="8112125" y="0"/>
            <a:ext cx="4079874" cy="64531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200" b="1"/>
          </a:p>
        </p:txBody>
      </p:sp>
      <p:pic>
        <p:nvPicPr>
          <p:cNvPr id="16" name="Grafik 15" descr="Ein Bild, das Text, Anzeige, Nachthimmel enthält.&#10;&#10;Automatisch generierte Beschreibung">
            <a:extLst>
              <a:ext uri="{FF2B5EF4-FFF2-40B4-BE49-F238E27FC236}">
                <a16:creationId xmlns:a16="http://schemas.microsoft.com/office/drawing/2014/main" id="{50052273-6F2C-46C2-A927-8BBBEF5783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66725" y="1410971"/>
            <a:ext cx="7686480" cy="438502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0" y="0"/>
            <a:ext cx="7631114" cy="1123950"/>
          </a:xfrm>
        </p:spPr>
        <p:txBody>
          <a:bodyPr rIns="0"/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AF8FE66-4DA4-4B57-A407-AC07C1A50CFB}" type="datetime1">
              <a:rPr lang="en-GB" smtClean="0"/>
              <a:t>20/10/2024</a:t>
            </a:fld>
            <a:endParaRPr lang="en-GB" sz="80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smtClean="0"/>
              <a:pPr/>
              <a:t>‹#›</a:t>
            </a:fld>
            <a:endParaRPr lang="en-GB" b="0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83523130-AFA1-42E4-AC66-26873E9A9CF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04792" y="1644285"/>
            <a:ext cx="6010349" cy="3735436"/>
          </a:xfrm>
          <a:custGeom>
            <a:avLst/>
            <a:gdLst>
              <a:gd name="connsiteX0" fmla="*/ 0 w 6010349"/>
              <a:gd name="connsiteY0" fmla="*/ 0 h 3735436"/>
              <a:gd name="connsiteX1" fmla="*/ 6010349 w 6010349"/>
              <a:gd name="connsiteY1" fmla="*/ 0 h 3735436"/>
              <a:gd name="connsiteX2" fmla="*/ 6010349 w 6010349"/>
              <a:gd name="connsiteY2" fmla="*/ 3735436 h 3735436"/>
              <a:gd name="connsiteX3" fmla="*/ 0 w 6010349"/>
              <a:gd name="connsiteY3" fmla="*/ 3735436 h 3735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10349" h="3735436">
                <a:moveTo>
                  <a:pt x="0" y="0"/>
                </a:moveTo>
                <a:lnTo>
                  <a:pt x="6010349" y="0"/>
                </a:lnTo>
                <a:lnTo>
                  <a:pt x="6010349" y="3735436"/>
                </a:lnTo>
                <a:lnTo>
                  <a:pt x="0" y="3735436"/>
                </a:lnTo>
                <a:close/>
              </a:path>
            </a:pathLst>
          </a:custGeom>
          <a:noFill/>
        </p:spPr>
        <p:txBody>
          <a:bodyPr wrap="square" lIns="0" tIns="0" rIns="0" bIns="576000" anchor="b">
            <a:noAutofit/>
          </a:bodyPr>
          <a:lstStyle>
            <a:lvl1pPr marL="0" indent="0" algn="ctr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095A8B34-4A01-456A-B199-E260D41644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8"/>
            <a:ext cx="3743326" cy="5041901"/>
          </a:xfrm>
        </p:spPr>
        <p:txBody>
          <a:bodyPr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12" name="Freihandform: Form 10">
            <a:extLst>
              <a:ext uri="{FF2B5EF4-FFF2-40B4-BE49-F238E27FC236}">
                <a16:creationId xmlns:a16="http://schemas.microsoft.com/office/drawing/2014/main" id="{0958553A-1F26-4760-A58A-A319207AD8DE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589752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white">
          <a:xfrm>
            <a:off x="8112124" y="0"/>
            <a:ext cx="4079875" cy="64531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200" b="1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0" y="0"/>
            <a:ext cx="7631114" cy="1123950"/>
          </a:xfrm>
        </p:spPr>
        <p:txBody>
          <a:bodyPr rIns="0"/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A78D782-1C18-42DF-B85D-BDE2B0BC93B1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9B47EE3E-3303-4D5D-8EAB-8FF2A3660B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8"/>
            <a:ext cx="5688013" cy="5041901"/>
          </a:xfrm>
        </p:spPr>
        <p:txBody>
          <a:bodyPr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pic>
        <p:nvPicPr>
          <p:cNvPr id="18" name="Grafik 17" descr="Ein Bild, das Text, Monitor, Screenshot enthält.&#10;&#10;Automatisch generierte Beschreibung">
            <a:extLst>
              <a:ext uri="{FF2B5EF4-FFF2-40B4-BE49-F238E27FC236}">
                <a16:creationId xmlns:a16="http://schemas.microsoft.com/office/drawing/2014/main" id="{13929267-5D41-4C78-AE1E-B162E81154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60096" y="1411288"/>
            <a:ext cx="2414164" cy="4826047"/>
          </a:xfrm>
          <a:prstGeom prst="rect">
            <a:avLst/>
          </a:prstGeom>
        </p:spPr>
      </p:pic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0FC5EB03-C5E0-458E-A02A-D04BFAA7E59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6540" y="1530375"/>
            <a:ext cx="2117219" cy="4562845"/>
          </a:xfrm>
          <a:custGeom>
            <a:avLst/>
            <a:gdLst>
              <a:gd name="connsiteX0" fmla="*/ 217212 w 2117219"/>
              <a:gd name="connsiteY0" fmla="*/ 0 h 4562845"/>
              <a:gd name="connsiteX1" fmla="*/ 438004 w 2117219"/>
              <a:gd name="connsiteY1" fmla="*/ 0 h 4562845"/>
              <a:gd name="connsiteX2" fmla="*/ 475002 w 2117219"/>
              <a:gd name="connsiteY2" fmla="*/ 36970 h 4562845"/>
              <a:gd name="connsiteX3" fmla="*/ 475002 w 2117219"/>
              <a:gd name="connsiteY3" fmla="*/ 77518 h 4562845"/>
              <a:gd name="connsiteX4" fmla="*/ 577641 w 2117219"/>
              <a:gd name="connsiteY4" fmla="*/ 180081 h 4562845"/>
              <a:gd name="connsiteX5" fmla="*/ 1540772 w 2117219"/>
              <a:gd name="connsiteY5" fmla="*/ 180081 h 4562845"/>
              <a:gd name="connsiteX6" fmla="*/ 1643411 w 2117219"/>
              <a:gd name="connsiteY6" fmla="*/ 77518 h 4562845"/>
              <a:gd name="connsiteX7" fmla="*/ 1643411 w 2117219"/>
              <a:gd name="connsiteY7" fmla="*/ 36970 h 4562845"/>
              <a:gd name="connsiteX8" fmla="*/ 1680408 w 2117219"/>
              <a:gd name="connsiteY8" fmla="*/ 0 h 4562845"/>
              <a:gd name="connsiteX9" fmla="*/ 1900007 w 2117219"/>
              <a:gd name="connsiteY9" fmla="*/ 0 h 4562845"/>
              <a:gd name="connsiteX10" fmla="*/ 2117219 w 2117219"/>
              <a:gd name="connsiteY10" fmla="*/ 217051 h 4562845"/>
              <a:gd name="connsiteX11" fmla="*/ 2117219 w 2117219"/>
              <a:gd name="connsiteY11" fmla="*/ 4345794 h 4562845"/>
              <a:gd name="connsiteX12" fmla="*/ 1900007 w 2117219"/>
              <a:gd name="connsiteY12" fmla="*/ 4562845 h 4562845"/>
              <a:gd name="connsiteX13" fmla="*/ 217212 w 2117219"/>
              <a:gd name="connsiteY13" fmla="*/ 4562845 h 4562845"/>
              <a:gd name="connsiteX14" fmla="*/ 0 w 2117219"/>
              <a:gd name="connsiteY14" fmla="*/ 4345794 h 4562845"/>
              <a:gd name="connsiteX15" fmla="*/ 0 w 2117219"/>
              <a:gd name="connsiteY15" fmla="*/ 217051 h 4562845"/>
              <a:gd name="connsiteX16" fmla="*/ 217212 w 2117219"/>
              <a:gd name="connsiteY16" fmla="*/ 0 h 456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117219" h="4562845">
                <a:moveTo>
                  <a:pt x="217212" y="0"/>
                </a:moveTo>
                <a:cubicBezTo>
                  <a:pt x="438004" y="0"/>
                  <a:pt x="438004" y="0"/>
                  <a:pt x="438004" y="0"/>
                </a:cubicBezTo>
                <a:cubicBezTo>
                  <a:pt x="458293" y="0"/>
                  <a:pt x="475002" y="16696"/>
                  <a:pt x="475002" y="36970"/>
                </a:cubicBezTo>
                <a:cubicBezTo>
                  <a:pt x="475002" y="77518"/>
                  <a:pt x="475002" y="77518"/>
                  <a:pt x="475002" y="77518"/>
                </a:cubicBezTo>
                <a:cubicBezTo>
                  <a:pt x="475002" y="134763"/>
                  <a:pt x="520354" y="180081"/>
                  <a:pt x="577641" y="180081"/>
                </a:cubicBezTo>
                <a:cubicBezTo>
                  <a:pt x="1540772" y="180081"/>
                  <a:pt x="1540772" y="180081"/>
                  <a:pt x="1540772" y="180081"/>
                </a:cubicBezTo>
                <a:cubicBezTo>
                  <a:pt x="1596865" y="180081"/>
                  <a:pt x="1643411" y="134763"/>
                  <a:pt x="1643411" y="77518"/>
                </a:cubicBezTo>
                <a:cubicBezTo>
                  <a:pt x="1643411" y="36970"/>
                  <a:pt x="1643411" y="36970"/>
                  <a:pt x="1643411" y="36970"/>
                </a:cubicBezTo>
                <a:cubicBezTo>
                  <a:pt x="1643411" y="16696"/>
                  <a:pt x="1660119" y="0"/>
                  <a:pt x="1680408" y="0"/>
                </a:cubicBezTo>
                <a:cubicBezTo>
                  <a:pt x="1900007" y="0"/>
                  <a:pt x="1900007" y="0"/>
                  <a:pt x="1900007" y="0"/>
                </a:cubicBezTo>
                <a:cubicBezTo>
                  <a:pt x="2020548" y="0"/>
                  <a:pt x="2117219" y="97792"/>
                  <a:pt x="2117219" y="217051"/>
                </a:cubicBezTo>
                <a:lnTo>
                  <a:pt x="2117219" y="4345794"/>
                </a:lnTo>
                <a:cubicBezTo>
                  <a:pt x="2117219" y="4465053"/>
                  <a:pt x="2020548" y="4562845"/>
                  <a:pt x="1900007" y="4562845"/>
                </a:cubicBezTo>
                <a:cubicBezTo>
                  <a:pt x="217212" y="4562845"/>
                  <a:pt x="217212" y="4562845"/>
                  <a:pt x="217212" y="4562845"/>
                </a:cubicBezTo>
                <a:cubicBezTo>
                  <a:pt x="96671" y="4562845"/>
                  <a:pt x="0" y="4466246"/>
                  <a:pt x="0" y="4345794"/>
                </a:cubicBezTo>
                <a:cubicBezTo>
                  <a:pt x="0" y="217051"/>
                  <a:pt x="0" y="217051"/>
                  <a:pt x="0" y="217051"/>
                </a:cubicBezTo>
                <a:cubicBezTo>
                  <a:pt x="0" y="97792"/>
                  <a:pt x="96671" y="0"/>
                  <a:pt x="217212" y="0"/>
                </a:cubicBezTo>
                <a:close/>
              </a:path>
            </a:pathLst>
          </a:custGeom>
          <a:noFill/>
          <a:effectLst>
            <a:innerShdw blurRad="25400">
              <a:prstClr val="black">
                <a:alpha val="42000"/>
              </a:prstClr>
            </a:innerShdw>
          </a:effectLst>
        </p:spPr>
        <p:txBody>
          <a:bodyPr wrap="square" tIns="0" rIns="0" bIns="432000"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13" name="Freihandform: Form 10">
            <a:extLst>
              <a:ext uri="{FF2B5EF4-FFF2-40B4-BE49-F238E27FC236}">
                <a16:creationId xmlns:a16="http://schemas.microsoft.com/office/drawing/2014/main" id="{1A317722-A0F4-4892-BEF2-A9C4928D5196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134443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white">
          <a:xfrm>
            <a:off x="8112124" y="0"/>
            <a:ext cx="4079875" cy="64531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200" b="1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72EE45A-00D9-46AF-9122-E4C64CC51A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807997" y="1391923"/>
            <a:ext cx="6056193" cy="463683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0" y="0"/>
            <a:ext cx="7631113" cy="1123950"/>
          </a:xfrm>
        </p:spPr>
        <p:txBody>
          <a:bodyPr rIns="0"/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8FFEBD9-621E-4524-AFC6-AE7ADB9D5DE2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08364F5A-F626-4E0B-B806-2DE9E115A8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997263" y="1581217"/>
            <a:ext cx="5676718" cy="4258905"/>
          </a:xfrm>
          <a:custGeom>
            <a:avLst/>
            <a:gdLst>
              <a:gd name="connsiteX0" fmla="*/ 76466 w 5676718"/>
              <a:gd name="connsiteY0" fmla="*/ 0 h 4258905"/>
              <a:gd name="connsiteX1" fmla="*/ 5600283 w 5676718"/>
              <a:gd name="connsiteY1" fmla="*/ 0 h 4258905"/>
              <a:gd name="connsiteX2" fmla="*/ 5676718 w 5676718"/>
              <a:gd name="connsiteY2" fmla="*/ 76466 h 4258905"/>
              <a:gd name="connsiteX3" fmla="*/ 5676718 w 5676718"/>
              <a:gd name="connsiteY3" fmla="*/ 4182438 h 4258905"/>
              <a:gd name="connsiteX4" fmla="*/ 5600252 w 5676718"/>
              <a:gd name="connsiteY4" fmla="*/ 4258905 h 4258905"/>
              <a:gd name="connsiteX5" fmla="*/ 76466 w 5676718"/>
              <a:gd name="connsiteY5" fmla="*/ 4258905 h 4258905"/>
              <a:gd name="connsiteX6" fmla="*/ 0 w 5676718"/>
              <a:gd name="connsiteY6" fmla="*/ 4182438 h 4258905"/>
              <a:gd name="connsiteX7" fmla="*/ 0 w 5676718"/>
              <a:gd name="connsiteY7" fmla="*/ 76466 h 4258905"/>
              <a:gd name="connsiteX8" fmla="*/ 76466 w 5676718"/>
              <a:gd name="connsiteY8" fmla="*/ 0 h 4258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76718" h="4258905">
                <a:moveTo>
                  <a:pt x="76466" y="0"/>
                </a:moveTo>
                <a:lnTo>
                  <a:pt x="5600283" y="0"/>
                </a:lnTo>
                <a:cubicBezTo>
                  <a:pt x="5642489" y="0"/>
                  <a:pt x="5676718" y="34229"/>
                  <a:pt x="5676718" y="76466"/>
                </a:cubicBezTo>
                <a:lnTo>
                  <a:pt x="5676718" y="4182438"/>
                </a:lnTo>
                <a:cubicBezTo>
                  <a:pt x="5676718" y="4224676"/>
                  <a:pt x="5642489" y="4258905"/>
                  <a:pt x="5600252" y="4258905"/>
                </a:cubicBezTo>
                <a:lnTo>
                  <a:pt x="76466" y="4258905"/>
                </a:lnTo>
                <a:cubicBezTo>
                  <a:pt x="34229" y="4258873"/>
                  <a:pt x="0" y="4224644"/>
                  <a:pt x="0" y="4182438"/>
                </a:cubicBezTo>
                <a:lnTo>
                  <a:pt x="0" y="76466"/>
                </a:lnTo>
                <a:cubicBezTo>
                  <a:pt x="0" y="34229"/>
                  <a:pt x="34229" y="0"/>
                  <a:pt x="76466" y="0"/>
                </a:cubicBezTo>
                <a:close/>
              </a:path>
            </a:pathLst>
          </a:custGeom>
          <a:noFill/>
          <a:effectLst>
            <a:innerShdw blurRad="25400">
              <a:prstClr val="black">
                <a:alpha val="42000"/>
              </a:prstClr>
            </a:innerShdw>
          </a:effectLst>
        </p:spPr>
        <p:txBody>
          <a:bodyPr wrap="square" tIns="720000" rIns="0" bIns="576000"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5981AF10-97DB-40EC-8613-F58EA5D388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8"/>
            <a:ext cx="3743325" cy="5041901"/>
          </a:xfrm>
        </p:spPr>
        <p:txBody>
          <a:bodyPr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13" name="Freihandform: Form 10">
            <a:extLst>
              <a:ext uri="{FF2B5EF4-FFF2-40B4-BE49-F238E27FC236}">
                <a16:creationId xmlns:a16="http://schemas.microsoft.com/office/drawing/2014/main" id="{712DCE93-E1D7-4836-9156-DC922280988B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251158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95F051-78E1-4BBE-9041-A0D9098035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36550" y="1125538"/>
            <a:ext cx="11520488" cy="3598862"/>
          </a:xfrm>
        </p:spPr>
        <p:txBody>
          <a:bodyPr/>
          <a:lstStyle>
            <a:lvl1pPr marL="0" indent="43200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bg1"/>
              </a:buClr>
              <a:buFont typeface="+mj-lt"/>
              <a:buAutoNum type="arabicPeriod"/>
              <a:defRPr sz="3200" b="1">
                <a:solidFill>
                  <a:schemeClr val="bg1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Topic</a:t>
            </a:r>
          </a:p>
          <a:p>
            <a:pPr lvl="1"/>
            <a:r>
              <a:rPr lang="en-GB" noProof="0" dirty="0"/>
              <a:t>Second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EFB2D47-3D81-4721-9D85-C768E73AE3DC}"/>
              </a:ext>
            </a:extLst>
          </p:cNvPr>
          <p:cNvSpPr txBox="1">
            <a:spLocks/>
          </p:cNvSpPr>
          <p:nvPr userDrawn="1"/>
        </p:nvSpPr>
        <p:spPr bwMode="invGray">
          <a:xfrm>
            <a:off x="5703746" y="5474076"/>
            <a:ext cx="784510" cy="211746"/>
          </a:xfrm>
          <a:custGeom>
            <a:avLst/>
            <a:gdLst/>
            <a:ahLst/>
            <a:cxnLst/>
            <a:rect l="l" t="t" r="r" b="b"/>
            <a:pathLst>
              <a:path w="784510" h="211746">
                <a:moveTo>
                  <a:pt x="757833" y="104143"/>
                </a:moveTo>
                <a:cubicBezTo>
                  <a:pt x="750541" y="107120"/>
                  <a:pt x="739602" y="109650"/>
                  <a:pt x="725017" y="111733"/>
                </a:cubicBezTo>
                <a:cubicBezTo>
                  <a:pt x="716757" y="112924"/>
                  <a:pt x="710915" y="114263"/>
                  <a:pt x="707492" y="115752"/>
                </a:cubicBezTo>
                <a:cubicBezTo>
                  <a:pt x="704069" y="117240"/>
                  <a:pt x="701427" y="119416"/>
                  <a:pt x="699567" y="122281"/>
                </a:cubicBezTo>
                <a:cubicBezTo>
                  <a:pt x="697707" y="125146"/>
                  <a:pt x="696776" y="128328"/>
                  <a:pt x="696776" y="131825"/>
                </a:cubicBezTo>
                <a:cubicBezTo>
                  <a:pt x="696776" y="137183"/>
                  <a:pt x="698804" y="141648"/>
                  <a:pt x="702860" y="145220"/>
                </a:cubicBezTo>
                <a:cubicBezTo>
                  <a:pt x="706915" y="148791"/>
                  <a:pt x="712850" y="150577"/>
                  <a:pt x="720663" y="150577"/>
                </a:cubicBezTo>
                <a:cubicBezTo>
                  <a:pt x="728402" y="150577"/>
                  <a:pt x="735286" y="148884"/>
                  <a:pt x="741313" y="145499"/>
                </a:cubicBezTo>
                <a:cubicBezTo>
                  <a:pt x="747341" y="142113"/>
                  <a:pt x="751768" y="137480"/>
                  <a:pt x="754596" y="131602"/>
                </a:cubicBezTo>
                <a:cubicBezTo>
                  <a:pt x="756754" y="127063"/>
                  <a:pt x="757833" y="120365"/>
                  <a:pt x="757833" y="111510"/>
                </a:cubicBezTo>
                <a:close/>
                <a:moveTo>
                  <a:pt x="593564" y="59048"/>
                </a:moveTo>
                <a:cubicBezTo>
                  <a:pt x="584634" y="59048"/>
                  <a:pt x="577174" y="62694"/>
                  <a:pt x="571184" y="69987"/>
                </a:cubicBezTo>
                <a:cubicBezTo>
                  <a:pt x="565194" y="77280"/>
                  <a:pt x="562199" y="88776"/>
                  <a:pt x="562199" y="104478"/>
                </a:cubicBezTo>
                <a:cubicBezTo>
                  <a:pt x="562199" y="119658"/>
                  <a:pt x="565398" y="131006"/>
                  <a:pt x="571798" y="138522"/>
                </a:cubicBezTo>
                <a:cubicBezTo>
                  <a:pt x="578198" y="146038"/>
                  <a:pt x="585751" y="149796"/>
                  <a:pt x="594457" y="149796"/>
                </a:cubicBezTo>
                <a:cubicBezTo>
                  <a:pt x="603238" y="149796"/>
                  <a:pt x="610698" y="146206"/>
                  <a:pt x="616837" y="139025"/>
                </a:cubicBezTo>
                <a:cubicBezTo>
                  <a:pt x="622976" y="131844"/>
                  <a:pt x="626046" y="120886"/>
                  <a:pt x="626046" y="106152"/>
                </a:cubicBezTo>
                <a:cubicBezTo>
                  <a:pt x="626046" y="89930"/>
                  <a:pt x="622920" y="78024"/>
                  <a:pt x="616670" y="70433"/>
                </a:cubicBezTo>
                <a:cubicBezTo>
                  <a:pt x="610419" y="62843"/>
                  <a:pt x="602717" y="59048"/>
                  <a:pt x="593564" y="59048"/>
                </a:cubicBezTo>
                <a:close/>
                <a:moveTo>
                  <a:pt x="203374" y="59048"/>
                </a:moveTo>
                <a:cubicBezTo>
                  <a:pt x="194444" y="59048"/>
                  <a:pt x="186854" y="62676"/>
                  <a:pt x="180603" y="69931"/>
                </a:cubicBezTo>
                <a:cubicBezTo>
                  <a:pt x="174352" y="77186"/>
                  <a:pt x="171227" y="87958"/>
                  <a:pt x="171227" y="102245"/>
                </a:cubicBezTo>
                <a:cubicBezTo>
                  <a:pt x="171227" y="117798"/>
                  <a:pt x="174315" y="129146"/>
                  <a:pt x="180492" y="136290"/>
                </a:cubicBezTo>
                <a:cubicBezTo>
                  <a:pt x="186668" y="143434"/>
                  <a:pt x="194407" y="147005"/>
                  <a:pt x="203709" y="147005"/>
                </a:cubicBezTo>
                <a:cubicBezTo>
                  <a:pt x="212936" y="147005"/>
                  <a:pt x="220675" y="143452"/>
                  <a:pt x="226926" y="136346"/>
                </a:cubicBezTo>
                <a:cubicBezTo>
                  <a:pt x="233177" y="129239"/>
                  <a:pt x="236302" y="118096"/>
                  <a:pt x="236302" y="102915"/>
                </a:cubicBezTo>
                <a:cubicBezTo>
                  <a:pt x="236302" y="88404"/>
                  <a:pt x="233084" y="77466"/>
                  <a:pt x="226647" y="70099"/>
                </a:cubicBezTo>
                <a:cubicBezTo>
                  <a:pt x="220210" y="62732"/>
                  <a:pt x="212452" y="59048"/>
                  <a:pt x="203374" y="59048"/>
                </a:cubicBezTo>
                <a:close/>
                <a:moveTo>
                  <a:pt x="340519" y="58936"/>
                </a:moveTo>
                <a:cubicBezTo>
                  <a:pt x="331292" y="58936"/>
                  <a:pt x="323534" y="62025"/>
                  <a:pt x="317246" y="68201"/>
                </a:cubicBezTo>
                <a:cubicBezTo>
                  <a:pt x="310958" y="74377"/>
                  <a:pt x="307479" y="82637"/>
                  <a:pt x="306809" y="92981"/>
                </a:cubicBezTo>
                <a:lnTo>
                  <a:pt x="373001" y="92981"/>
                </a:lnTo>
                <a:cubicBezTo>
                  <a:pt x="372108" y="83009"/>
                  <a:pt x="369578" y="75531"/>
                  <a:pt x="365411" y="70545"/>
                </a:cubicBezTo>
                <a:cubicBezTo>
                  <a:pt x="359011" y="62806"/>
                  <a:pt x="350714" y="58936"/>
                  <a:pt x="340519" y="58936"/>
                </a:cubicBezTo>
                <a:close/>
                <a:moveTo>
                  <a:pt x="732272" y="42417"/>
                </a:moveTo>
                <a:cubicBezTo>
                  <a:pt x="742392" y="42417"/>
                  <a:pt x="750615" y="43607"/>
                  <a:pt x="756940" y="45988"/>
                </a:cubicBezTo>
                <a:cubicBezTo>
                  <a:pt x="763265" y="48370"/>
                  <a:pt x="767916" y="51365"/>
                  <a:pt x="770893" y="54974"/>
                </a:cubicBezTo>
                <a:cubicBezTo>
                  <a:pt x="773869" y="58583"/>
                  <a:pt x="775953" y="63141"/>
                  <a:pt x="777143" y="68647"/>
                </a:cubicBezTo>
                <a:cubicBezTo>
                  <a:pt x="777813" y="72071"/>
                  <a:pt x="778148" y="78247"/>
                  <a:pt x="778148" y="87177"/>
                </a:cubicBezTo>
                <a:lnTo>
                  <a:pt x="778148" y="113966"/>
                </a:lnTo>
                <a:cubicBezTo>
                  <a:pt x="778148" y="132644"/>
                  <a:pt x="778576" y="144457"/>
                  <a:pt x="779432" y="149405"/>
                </a:cubicBezTo>
                <a:cubicBezTo>
                  <a:pt x="780287" y="154354"/>
                  <a:pt x="781980" y="159098"/>
                  <a:pt x="784510" y="163637"/>
                </a:cubicBezTo>
                <a:lnTo>
                  <a:pt x="763526" y="163637"/>
                </a:lnTo>
                <a:cubicBezTo>
                  <a:pt x="761442" y="159470"/>
                  <a:pt x="760103" y="154596"/>
                  <a:pt x="759507" y="149015"/>
                </a:cubicBezTo>
                <a:cubicBezTo>
                  <a:pt x="752066" y="155340"/>
                  <a:pt x="744904" y="159805"/>
                  <a:pt x="738020" y="162409"/>
                </a:cubicBezTo>
                <a:cubicBezTo>
                  <a:pt x="731137" y="165014"/>
                  <a:pt x="723751" y="166316"/>
                  <a:pt x="715864" y="166316"/>
                </a:cubicBezTo>
                <a:cubicBezTo>
                  <a:pt x="702841" y="166316"/>
                  <a:pt x="692832" y="163135"/>
                  <a:pt x="685838" y="156772"/>
                </a:cubicBezTo>
                <a:cubicBezTo>
                  <a:pt x="678843" y="150410"/>
                  <a:pt x="675345" y="142280"/>
                  <a:pt x="675345" y="132383"/>
                </a:cubicBezTo>
                <a:cubicBezTo>
                  <a:pt x="675345" y="126579"/>
                  <a:pt x="676666" y="121277"/>
                  <a:pt x="679308" y="116477"/>
                </a:cubicBezTo>
                <a:cubicBezTo>
                  <a:pt x="681949" y="111677"/>
                  <a:pt x="685410" y="107826"/>
                  <a:pt x="689688" y="104924"/>
                </a:cubicBezTo>
                <a:cubicBezTo>
                  <a:pt x="693967" y="102022"/>
                  <a:pt x="698786" y="99827"/>
                  <a:pt x="704143" y="98339"/>
                </a:cubicBezTo>
                <a:cubicBezTo>
                  <a:pt x="708087" y="97297"/>
                  <a:pt x="714040" y="96292"/>
                  <a:pt x="722003" y="95325"/>
                </a:cubicBezTo>
                <a:cubicBezTo>
                  <a:pt x="738225" y="93390"/>
                  <a:pt x="750168" y="91083"/>
                  <a:pt x="757833" y="88404"/>
                </a:cubicBezTo>
                <a:cubicBezTo>
                  <a:pt x="757908" y="85651"/>
                  <a:pt x="757945" y="83902"/>
                  <a:pt x="757945" y="83158"/>
                </a:cubicBezTo>
                <a:cubicBezTo>
                  <a:pt x="757945" y="74973"/>
                  <a:pt x="756047" y="69206"/>
                  <a:pt x="752252" y="65857"/>
                </a:cubicBezTo>
                <a:cubicBezTo>
                  <a:pt x="747117" y="61318"/>
                  <a:pt x="739490" y="59048"/>
                  <a:pt x="729370" y="59048"/>
                </a:cubicBezTo>
                <a:cubicBezTo>
                  <a:pt x="719919" y="59048"/>
                  <a:pt x="712943" y="60704"/>
                  <a:pt x="708441" y="64015"/>
                </a:cubicBezTo>
                <a:cubicBezTo>
                  <a:pt x="703939" y="67327"/>
                  <a:pt x="700609" y="73187"/>
                  <a:pt x="698451" y="81596"/>
                </a:cubicBezTo>
                <a:lnTo>
                  <a:pt x="678805" y="78917"/>
                </a:lnTo>
                <a:cubicBezTo>
                  <a:pt x="680591" y="70508"/>
                  <a:pt x="683531" y="63718"/>
                  <a:pt x="687623" y="58546"/>
                </a:cubicBezTo>
                <a:cubicBezTo>
                  <a:pt x="691716" y="53374"/>
                  <a:pt x="697632" y="49393"/>
                  <a:pt x="705371" y="46602"/>
                </a:cubicBezTo>
                <a:cubicBezTo>
                  <a:pt x="713110" y="43812"/>
                  <a:pt x="722077" y="42417"/>
                  <a:pt x="732272" y="42417"/>
                </a:cubicBezTo>
                <a:close/>
                <a:moveTo>
                  <a:pt x="471265" y="42417"/>
                </a:moveTo>
                <a:cubicBezTo>
                  <a:pt x="478408" y="42417"/>
                  <a:pt x="484975" y="43700"/>
                  <a:pt x="490966" y="46267"/>
                </a:cubicBezTo>
                <a:cubicBezTo>
                  <a:pt x="496956" y="48835"/>
                  <a:pt x="501439" y="52202"/>
                  <a:pt x="504416" y="56369"/>
                </a:cubicBezTo>
                <a:cubicBezTo>
                  <a:pt x="507393" y="60536"/>
                  <a:pt x="509476" y="65485"/>
                  <a:pt x="510667" y="71215"/>
                </a:cubicBezTo>
                <a:cubicBezTo>
                  <a:pt x="511411" y="74935"/>
                  <a:pt x="511783" y="81447"/>
                  <a:pt x="511783" y="90748"/>
                </a:cubicBezTo>
                <a:lnTo>
                  <a:pt x="511783" y="163637"/>
                </a:lnTo>
                <a:lnTo>
                  <a:pt x="491691" y="163637"/>
                </a:lnTo>
                <a:lnTo>
                  <a:pt x="491691" y="91530"/>
                </a:lnTo>
                <a:cubicBezTo>
                  <a:pt x="491691" y="83344"/>
                  <a:pt x="490910" y="77224"/>
                  <a:pt x="489347" y="73168"/>
                </a:cubicBezTo>
                <a:cubicBezTo>
                  <a:pt x="487784" y="69113"/>
                  <a:pt x="485013" y="65876"/>
                  <a:pt x="481031" y="63457"/>
                </a:cubicBezTo>
                <a:cubicBezTo>
                  <a:pt x="477050" y="61039"/>
                  <a:pt x="472381" y="59829"/>
                  <a:pt x="467023" y="59829"/>
                </a:cubicBezTo>
                <a:cubicBezTo>
                  <a:pt x="458465" y="59829"/>
                  <a:pt x="451080" y="62546"/>
                  <a:pt x="444866" y="67978"/>
                </a:cubicBezTo>
                <a:cubicBezTo>
                  <a:pt x="438653" y="73410"/>
                  <a:pt x="435546" y="83716"/>
                  <a:pt x="435546" y="98897"/>
                </a:cubicBezTo>
                <a:lnTo>
                  <a:pt x="435546" y="163637"/>
                </a:lnTo>
                <a:lnTo>
                  <a:pt x="415454" y="163637"/>
                </a:lnTo>
                <a:lnTo>
                  <a:pt x="415454" y="45095"/>
                </a:lnTo>
                <a:lnTo>
                  <a:pt x="433537" y="45095"/>
                </a:lnTo>
                <a:lnTo>
                  <a:pt x="433537" y="61950"/>
                </a:lnTo>
                <a:cubicBezTo>
                  <a:pt x="442243" y="48928"/>
                  <a:pt x="454819" y="42417"/>
                  <a:pt x="471265" y="42417"/>
                </a:cubicBezTo>
                <a:close/>
                <a:moveTo>
                  <a:pt x="340296" y="42417"/>
                </a:moveTo>
                <a:cubicBezTo>
                  <a:pt x="356146" y="42417"/>
                  <a:pt x="369094" y="47812"/>
                  <a:pt x="379140" y="58602"/>
                </a:cubicBezTo>
                <a:cubicBezTo>
                  <a:pt x="389186" y="69392"/>
                  <a:pt x="394209" y="84572"/>
                  <a:pt x="394209" y="104143"/>
                </a:cubicBezTo>
                <a:cubicBezTo>
                  <a:pt x="394209" y="105334"/>
                  <a:pt x="394172" y="107120"/>
                  <a:pt x="394097" y="109501"/>
                </a:cubicBezTo>
                <a:lnTo>
                  <a:pt x="305693" y="109501"/>
                </a:lnTo>
                <a:cubicBezTo>
                  <a:pt x="306437" y="122523"/>
                  <a:pt x="310121" y="132495"/>
                  <a:pt x="316744" y="139415"/>
                </a:cubicBezTo>
                <a:cubicBezTo>
                  <a:pt x="323367" y="146336"/>
                  <a:pt x="331627" y="149796"/>
                  <a:pt x="341524" y="149796"/>
                </a:cubicBezTo>
                <a:cubicBezTo>
                  <a:pt x="348891" y="149796"/>
                  <a:pt x="355179" y="147861"/>
                  <a:pt x="360388" y="143992"/>
                </a:cubicBezTo>
                <a:cubicBezTo>
                  <a:pt x="365597" y="140122"/>
                  <a:pt x="369727" y="133946"/>
                  <a:pt x="372778" y="125463"/>
                </a:cubicBezTo>
                <a:lnTo>
                  <a:pt x="393539" y="128030"/>
                </a:lnTo>
                <a:cubicBezTo>
                  <a:pt x="390265" y="140159"/>
                  <a:pt x="384200" y="149573"/>
                  <a:pt x="375345" y="156270"/>
                </a:cubicBezTo>
                <a:cubicBezTo>
                  <a:pt x="366490" y="162967"/>
                  <a:pt x="355179" y="166316"/>
                  <a:pt x="341412" y="166316"/>
                </a:cubicBezTo>
                <a:cubicBezTo>
                  <a:pt x="324074" y="166316"/>
                  <a:pt x="310326" y="160977"/>
                  <a:pt x="300168" y="150298"/>
                </a:cubicBezTo>
                <a:cubicBezTo>
                  <a:pt x="290011" y="139620"/>
                  <a:pt x="284932" y="124644"/>
                  <a:pt x="284932" y="105371"/>
                </a:cubicBezTo>
                <a:cubicBezTo>
                  <a:pt x="284932" y="85428"/>
                  <a:pt x="290066" y="69950"/>
                  <a:pt x="300335" y="58936"/>
                </a:cubicBezTo>
                <a:cubicBezTo>
                  <a:pt x="310605" y="47923"/>
                  <a:pt x="323925" y="42417"/>
                  <a:pt x="340296" y="42417"/>
                </a:cubicBezTo>
                <a:close/>
                <a:moveTo>
                  <a:pt x="201923" y="42417"/>
                </a:moveTo>
                <a:cubicBezTo>
                  <a:pt x="215913" y="42417"/>
                  <a:pt x="227447" y="48072"/>
                  <a:pt x="236525" y="59383"/>
                </a:cubicBezTo>
                <a:lnTo>
                  <a:pt x="236525" y="45095"/>
                </a:lnTo>
                <a:lnTo>
                  <a:pt x="255054" y="45095"/>
                </a:lnTo>
                <a:lnTo>
                  <a:pt x="255054" y="147564"/>
                </a:lnTo>
                <a:cubicBezTo>
                  <a:pt x="255054" y="166018"/>
                  <a:pt x="253176" y="179097"/>
                  <a:pt x="249418" y="186798"/>
                </a:cubicBezTo>
                <a:cubicBezTo>
                  <a:pt x="245660" y="194500"/>
                  <a:pt x="239707" y="200584"/>
                  <a:pt x="231558" y="205048"/>
                </a:cubicBezTo>
                <a:cubicBezTo>
                  <a:pt x="223410" y="209513"/>
                  <a:pt x="213383" y="211746"/>
                  <a:pt x="201476" y="211746"/>
                </a:cubicBezTo>
                <a:cubicBezTo>
                  <a:pt x="187338" y="211746"/>
                  <a:pt x="175915" y="208565"/>
                  <a:pt x="167209" y="202202"/>
                </a:cubicBezTo>
                <a:cubicBezTo>
                  <a:pt x="158502" y="195840"/>
                  <a:pt x="154298" y="186259"/>
                  <a:pt x="154596" y="173460"/>
                </a:cubicBezTo>
                <a:lnTo>
                  <a:pt x="174129" y="176362"/>
                </a:lnTo>
                <a:cubicBezTo>
                  <a:pt x="174948" y="182389"/>
                  <a:pt x="177217" y="186780"/>
                  <a:pt x="180938" y="189533"/>
                </a:cubicBezTo>
                <a:cubicBezTo>
                  <a:pt x="185924" y="193254"/>
                  <a:pt x="192733" y="195114"/>
                  <a:pt x="201365" y="195114"/>
                </a:cubicBezTo>
                <a:cubicBezTo>
                  <a:pt x="210667" y="195114"/>
                  <a:pt x="217847" y="193254"/>
                  <a:pt x="222908" y="189533"/>
                </a:cubicBezTo>
                <a:cubicBezTo>
                  <a:pt x="227968" y="185812"/>
                  <a:pt x="231391" y="180603"/>
                  <a:pt x="233177" y="173906"/>
                </a:cubicBezTo>
                <a:cubicBezTo>
                  <a:pt x="234219" y="169813"/>
                  <a:pt x="234702" y="161219"/>
                  <a:pt x="234628" y="148122"/>
                </a:cubicBezTo>
                <a:cubicBezTo>
                  <a:pt x="225847" y="158465"/>
                  <a:pt x="214908" y="163637"/>
                  <a:pt x="201811" y="163637"/>
                </a:cubicBezTo>
                <a:cubicBezTo>
                  <a:pt x="185515" y="163637"/>
                  <a:pt x="172901" y="157758"/>
                  <a:pt x="163972" y="146001"/>
                </a:cubicBezTo>
                <a:cubicBezTo>
                  <a:pt x="155042" y="134243"/>
                  <a:pt x="150577" y="120142"/>
                  <a:pt x="150577" y="103696"/>
                </a:cubicBezTo>
                <a:cubicBezTo>
                  <a:pt x="150577" y="92386"/>
                  <a:pt x="152624" y="81949"/>
                  <a:pt x="156716" y="72387"/>
                </a:cubicBezTo>
                <a:cubicBezTo>
                  <a:pt x="160809" y="62825"/>
                  <a:pt x="166744" y="55439"/>
                  <a:pt x="174520" y="50230"/>
                </a:cubicBezTo>
                <a:cubicBezTo>
                  <a:pt x="182296" y="45021"/>
                  <a:pt x="191430" y="42417"/>
                  <a:pt x="201923" y="42417"/>
                </a:cubicBezTo>
                <a:close/>
                <a:moveTo>
                  <a:pt x="74005" y="17190"/>
                </a:moveTo>
                <a:cubicBezTo>
                  <a:pt x="71921" y="27683"/>
                  <a:pt x="68982" y="38100"/>
                  <a:pt x="65187" y="48444"/>
                </a:cubicBezTo>
                <a:lnTo>
                  <a:pt x="47216" y="96441"/>
                </a:lnTo>
                <a:lnTo>
                  <a:pt x="102692" y="96441"/>
                </a:lnTo>
                <a:lnTo>
                  <a:pt x="85614" y="51123"/>
                </a:lnTo>
                <a:cubicBezTo>
                  <a:pt x="80405" y="37356"/>
                  <a:pt x="76535" y="26045"/>
                  <a:pt x="74005" y="17190"/>
                </a:cubicBezTo>
                <a:close/>
                <a:moveTo>
                  <a:pt x="624371" y="0"/>
                </a:moveTo>
                <a:lnTo>
                  <a:pt x="644352" y="0"/>
                </a:lnTo>
                <a:lnTo>
                  <a:pt x="644352" y="163637"/>
                </a:lnTo>
                <a:lnTo>
                  <a:pt x="625711" y="163637"/>
                </a:lnTo>
                <a:lnTo>
                  <a:pt x="625711" y="148680"/>
                </a:lnTo>
                <a:cubicBezTo>
                  <a:pt x="618195" y="160437"/>
                  <a:pt x="607145" y="166316"/>
                  <a:pt x="592559" y="166316"/>
                </a:cubicBezTo>
                <a:cubicBezTo>
                  <a:pt x="583109" y="166316"/>
                  <a:pt x="574421" y="163711"/>
                  <a:pt x="566496" y="158502"/>
                </a:cubicBezTo>
                <a:cubicBezTo>
                  <a:pt x="558571" y="153293"/>
                  <a:pt x="552432" y="146019"/>
                  <a:pt x="548078" y="136681"/>
                </a:cubicBezTo>
                <a:cubicBezTo>
                  <a:pt x="543725" y="127342"/>
                  <a:pt x="541549" y="116607"/>
                  <a:pt x="541549" y="104478"/>
                </a:cubicBezTo>
                <a:cubicBezTo>
                  <a:pt x="541549" y="92646"/>
                  <a:pt x="543521" y="81912"/>
                  <a:pt x="547465" y="72275"/>
                </a:cubicBezTo>
                <a:cubicBezTo>
                  <a:pt x="551409" y="62639"/>
                  <a:pt x="557324" y="55253"/>
                  <a:pt x="565212" y="50118"/>
                </a:cubicBezTo>
                <a:cubicBezTo>
                  <a:pt x="573100" y="44984"/>
                  <a:pt x="581918" y="42417"/>
                  <a:pt x="591667" y="42417"/>
                </a:cubicBezTo>
                <a:cubicBezTo>
                  <a:pt x="598810" y="42417"/>
                  <a:pt x="605173" y="43923"/>
                  <a:pt x="610754" y="46937"/>
                </a:cubicBezTo>
                <a:cubicBezTo>
                  <a:pt x="616335" y="49951"/>
                  <a:pt x="620874" y="53876"/>
                  <a:pt x="624371" y="58713"/>
                </a:cubicBezTo>
                <a:close/>
                <a:moveTo>
                  <a:pt x="62843" y="0"/>
                </a:moveTo>
                <a:lnTo>
                  <a:pt x="86172" y="0"/>
                </a:lnTo>
                <a:lnTo>
                  <a:pt x="153144" y="163637"/>
                </a:lnTo>
                <a:lnTo>
                  <a:pt x="128476" y="163637"/>
                </a:lnTo>
                <a:lnTo>
                  <a:pt x="109389" y="114077"/>
                </a:lnTo>
                <a:lnTo>
                  <a:pt x="40965" y="114077"/>
                </a:lnTo>
                <a:lnTo>
                  <a:pt x="22994" y="163637"/>
                </a:lnTo>
                <a:lnTo>
                  <a:pt x="0" y="1636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noProof="0"/>
          </a:p>
        </p:txBody>
      </p:sp>
      <p:sp>
        <p:nvSpPr>
          <p:cNvPr id="11" name="Google Shape;192;p37">
            <a:extLst>
              <a:ext uri="{FF2B5EF4-FFF2-40B4-BE49-F238E27FC236}">
                <a16:creationId xmlns:a16="http://schemas.microsoft.com/office/drawing/2014/main" id="{1DE45504-11DD-4AE5-9D58-228ADD011102}"/>
              </a:ext>
            </a:extLst>
          </p:cNvPr>
          <p:cNvSpPr/>
          <p:nvPr userDrawn="1"/>
        </p:nvSpPr>
        <p:spPr bwMode="inv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GB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869C199-7777-4DD5-A74D-6B4B6B0D6A5A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D1222B-1DF8-4F07-AB47-CDA441AE148C}" type="datetime1">
              <a:rPr lang="en-GB" noProof="0" smtClean="0"/>
              <a:t>20/10/2024</a:t>
            </a:fld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4115067-4170-4AE6-BF5C-69E8138CF8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0BE1DB-AC6B-4E05-B638-3A67ABEEEE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436782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808FDAE0-CFCF-4E75-AE61-2D84BDF3CF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19050" cap="rnd">
            <a:noFill/>
          </a:ln>
          <a:effectLst>
            <a:glow rad="254000">
              <a:srgbClr val="008A4F">
                <a:alpha val="2000"/>
              </a:srgb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44000" rIns="144000" bIns="144000" rtlCol="0" anchor="ctr">
            <a:noAutofit/>
          </a:bodyPr>
          <a:lstStyle/>
          <a:p>
            <a:pPr algn="ctr"/>
            <a:endParaRPr lang="en-GB" sz="1600" b="1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Medienplatzhalter 8">
            <a:extLst>
              <a:ext uri="{FF2B5EF4-FFF2-40B4-BE49-F238E27FC236}">
                <a16:creationId xmlns:a16="http://schemas.microsoft.com/office/drawing/2014/main" id="{CD6050FB-DE36-4D86-9C1A-B8C6991159EE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tIns="828000" anchor="ctr"/>
          <a:lstStyle>
            <a:lvl1pPr marL="0" indent="0" algn="ctr">
              <a:buNone/>
              <a:defRPr sz="800" i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a video by clicking on the icon. </a:t>
            </a:r>
          </a:p>
        </p:txBody>
      </p:sp>
      <p:sp>
        <p:nvSpPr>
          <p:cNvPr id="11" name="Datumsplatzhalter 1">
            <a:extLst>
              <a:ext uri="{FF2B5EF4-FFF2-40B4-BE49-F238E27FC236}">
                <a16:creationId xmlns:a16="http://schemas.microsoft.com/office/drawing/2014/main" id="{D7DF414D-C647-45DC-A53D-3BE08C147EF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336550" y="6993396"/>
            <a:ext cx="863450" cy="144016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32990024-FFC7-4B88-81E4-8CC1C251B76A}" type="datetime1">
              <a:rPr lang="en-GB" noProof="0" smtClean="0"/>
              <a:t>20/10/2024</a:t>
            </a:fld>
            <a:endParaRPr lang="en-GB" noProof="0"/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73732EA5-6572-401E-8E57-0EE06FB9E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3792538" y="6993396"/>
            <a:ext cx="4606924" cy="144016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GB" noProof="0"/>
              <a:t>Commerzbank AG, Max Mustermann, GM-C Brand Management </a:t>
            </a:r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5564EBD7-E421-420C-80ED-5FB9B4241C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280774" y="6993396"/>
            <a:ext cx="574675" cy="144016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AEFDB47-5D1C-45E7-8BD0-EF74349B00F7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661572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white">
          <a:xfrm>
            <a:off x="8112125" y="0"/>
            <a:ext cx="4079874" cy="64531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200" b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0" y="0"/>
            <a:ext cx="7631114" cy="1123950"/>
          </a:xfrm>
        </p:spPr>
        <p:txBody>
          <a:bodyPr rIns="0"/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C44C210-04CA-479A-9393-D167F6AC8794}" type="datetime1">
              <a:rPr lang="en-GB" smtClean="0"/>
              <a:t>20/10/2024</a:t>
            </a:fld>
            <a:endParaRPr lang="en-GB" sz="80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smtClean="0"/>
              <a:pPr/>
              <a:t>‹#›</a:t>
            </a:fld>
            <a:endParaRPr lang="en-GB" b="0"/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095A8B34-4A01-456A-B199-E260D41644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8"/>
            <a:ext cx="3743326" cy="5041901"/>
          </a:xfrm>
        </p:spPr>
        <p:txBody>
          <a:bodyPr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pic>
        <p:nvPicPr>
          <p:cNvPr id="15" name="Grafik 14" descr="Ein Bild, das Text, Anzeige, Nachthimmel enthält.&#10;&#10;Automatisch generierte Beschreibung">
            <a:extLst>
              <a:ext uri="{FF2B5EF4-FFF2-40B4-BE49-F238E27FC236}">
                <a16:creationId xmlns:a16="http://schemas.microsoft.com/office/drawing/2014/main" id="{8AD75974-F525-4A18-8953-F7E9CD345E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66725" y="1410971"/>
            <a:ext cx="7686480" cy="4385024"/>
          </a:xfrm>
          <a:prstGeom prst="rect">
            <a:avLst/>
          </a:prstGeom>
        </p:spPr>
      </p:pic>
      <p:sp>
        <p:nvSpPr>
          <p:cNvPr id="17" name="Medienplatzhalter 16">
            <a:extLst>
              <a:ext uri="{FF2B5EF4-FFF2-40B4-BE49-F238E27FC236}">
                <a16:creationId xmlns:a16="http://schemas.microsoft.com/office/drawing/2014/main" id="{D12B9425-A179-416D-B974-E93DC1E04346}"/>
              </a:ext>
            </a:extLst>
          </p:cNvPr>
          <p:cNvSpPr>
            <a:spLocks noGrp="1" noChangeAspect="1"/>
          </p:cNvSpPr>
          <p:nvPr>
            <p:ph type="media" sz="quarter" idx="18" hasCustomPrompt="1"/>
          </p:nvPr>
        </p:nvSpPr>
        <p:spPr bwMode="gray">
          <a:xfrm>
            <a:off x="5004793" y="1644285"/>
            <a:ext cx="6010349" cy="3735436"/>
          </a:xfrm>
          <a:custGeom>
            <a:avLst/>
            <a:gdLst>
              <a:gd name="connsiteX0" fmla="*/ 0 w 6010349"/>
              <a:gd name="connsiteY0" fmla="*/ 0 h 3735436"/>
              <a:gd name="connsiteX1" fmla="*/ 6010349 w 6010349"/>
              <a:gd name="connsiteY1" fmla="*/ 0 h 3735436"/>
              <a:gd name="connsiteX2" fmla="*/ 6010349 w 6010349"/>
              <a:gd name="connsiteY2" fmla="*/ 3735436 h 3735436"/>
              <a:gd name="connsiteX3" fmla="*/ 0 w 6010349"/>
              <a:gd name="connsiteY3" fmla="*/ 3735436 h 3735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10349" h="3735436">
                <a:moveTo>
                  <a:pt x="0" y="0"/>
                </a:moveTo>
                <a:lnTo>
                  <a:pt x="6010349" y="0"/>
                </a:lnTo>
                <a:lnTo>
                  <a:pt x="6010349" y="3735436"/>
                </a:lnTo>
                <a:lnTo>
                  <a:pt x="0" y="373543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828000" anchor="ctr">
            <a:noAutofit/>
          </a:bodyPr>
          <a:lstStyle>
            <a:lvl1pPr marL="0" indent="0" algn="ctr">
              <a:buNone/>
              <a:defRPr sz="800" i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a video by clicking on the icon. 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7BA35142-8DB2-4C8E-945D-08A8F39BB6FF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441284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with Full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3D84946B-E163-4ADA-8A99-DC1319431949}"/>
              </a:ext>
            </a:extLst>
          </p:cNvPr>
          <p:cNvSpPr/>
          <p:nvPr userDrawn="1"/>
        </p:nvSpPr>
        <p:spPr bwMode="gray">
          <a:xfrm>
            <a:off x="0" y="0"/>
            <a:ext cx="12192000" cy="64531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200" b="1">
              <a:solidFill>
                <a:schemeClr val="bg1"/>
              </a:solidFill>
            </a:endParaRP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CEC443DD-2BF6-4B18-84D7-A28FE56FF2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453188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Make sure that the logo is in the foreground and choose petrol as the logo </a:t>
            </a:r>
            <a:r>
              <a:rPr lang="en-GB" noProof="0" dirty="0" err="1"/>
              <a:t>colour</a:t>
            </a:r>
            <a:r>
              <a:rPr lang="en-GB" noProof="0" dirty="0"/>
              <a:t> for light images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2F830EA-47C1-4965-BD05-B1B8E92212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22437" y="1412876"/>
            <a:ext cx="7218363" cy="331152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ClrTx/>
              <a:buNone/>
              <a:defRPr>
                <a:solidFill>
                  <a:schemeClr val="bg1"/>
                </a:solidFill>
              </a:defRPr>
            </a:lvl2pPr>
            <a:lvl3pPr marL="180000" indent="-180000"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Insert highlight </a:t>
            </a:r>
            <a:r>
              <a:rPr lang="en-GB" noProof="0" dirty="0" err="1"/>
              <a:t>text</a:t>
            </a:r>
            <a:endParaRPr lang="en-GB" noProof="0" dirty="0"/>
          </a:p>
          <a:p>
            <a:pPr lvl="1"/>
            <a:r>
              <a:rPr lang="en-GB" noProof="0" dirty="0"/>
              <a:t>Second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2"/>
            <a:r>
              <a:rPr lang="en-GB" noProof="0" dirty="0"/>
              <a:t>Third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3"/>
            <a:r>
              <a:rPr lang="en-GB" noProof="0" dirty="0" err="1"/>
              <a:t>Fourth</a:t>
            </a:r>
            <a:r>
              <a:rPr lang="en-GB" noProof="0" dirty="0"/>
              <a:t>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en-GB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CF53ED3-38A7-4F5B-8F74-CF94F11AE3B5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4352DAF5-5DAF-40F5-926C-05D20387CDEC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DB4A587-2B48-47E5-8FC8-FCC736BF5F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9E580F-6707-42B3-AB53-A8B38B0BBB5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CF59287-810C-47D8-BAD6-E90E56A6D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722436" y="836613"/>
            <a:ext cx="5094289" cy="574675"/>
          </a:xfrm>
        </p:spPr>
        <p:txBody>
          <a:bodyPr tIns="144000" rIns="0"/>
          <a:lstStyle>
            <a:lvl1pPr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er </a:t>
            </a:r>
            <a:r>
              <a:rPr lang="en-GB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70502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D42205D3-11EC-0D61-DBEB-B4973330A4F8}"/>
              </a:ext>
            </a:extLst>
          </p:cNvPr>
          <p:cNvSpPr/>
          <p:nvPr userDrawn="1"/>
        </p:nvSpPr>
        <p:spPr bwMode="gray">
          <a:xfrm>
            <a:off x="11500842" y="239316"/>
            <a:ext cx="467915" cy="4012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CH" sz="1200" b="1" dirty="0" err="1">
              <a:solidFill>
                <a:schemeClr val="bg1"/>
              </a:solidFill>
            </a:endParaRPr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F34628A-9FDF-4CC5-8075-404915653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850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F34628A-9FDF-4CC5-8075-404915653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DB4EBAE-7EE0-4A7F-BCB2-9B2864E73D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12124" y="0"/>
            <a:ext cx="4079875" cy="6453188"/>
          </a:xfrm>
          <a:ln>
            <a:solidFill>
              <a:schemeClr val="tx2"/>
            </a:solidFill>
          </a:ln>
        </p:spPr>
        <p:txBody>
          <a:bodyPr lIns="468000" tIns="0" rIns="46800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Make sure that the logo is in the foreground and choose petrol </a:t>
            </a:r>
            <a:br>
              <a:rPr lang="en-GB" noProof="0" dirty="0"/>
            </a:br>
            <a:r>
              <a:rPr lang="en-GB" noProof="0" dirty="0"/>
              <a:t>as the logo colour for light images.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en-GB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1DA9E7-F5BE-4A84-8E7B-D736D9ED935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E92AA9C8-57A3-49B4-B15B-5C72A2245D66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2384B9A-4174-4D9D-9EF8-E59B4C9515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1FA5FD0-3E85-4292-A0CE-868AE00072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F061FEFF-B2E2-4D83-907B-D9C5A33FCC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6550" y="1412876"/>
            <a:ext cx="7631114" cy="3311524"/>
          </a:xfrm>
        </p:spPr>
        <p:txBody>
          <a:bodyPr rIns="0"/>
          <a:lstStyle>
            <a:lvl1pPr marL="0" indent="0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None/>
              <a:defRPr sz="3200" b="1">
                <a:solidFill>
                  <a:schemeClr val="tx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ClrTx/>
              <a:buNone/>
              <a:defRPr>
                <a:solidFill>
                  <a:schemeClr val="tx1"/>
                </a:solidFill>
              </a:defRPr>
            </a:lvl2pPr>
            <a:lvl3pPr marL="180000" indent="-1800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Insert highlight </a:t>
            </a:r>
            <a:r>
              <a:rPr lang="en-GB" noProof="0" dirty="0" err="1"/>
              <a:t>text</a:t>
            </a:r>
            <a:endParaRPr lang="en-GB" noProof="0" dirty="0"/>
          </a:p>
          <a:p>
            <a:pPr lvl="1"/>
            <a:r>
              <a:rPr lang="en-GB" noProof="0" dirty="0"/>
              <a:t>Second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2"/>
            <a:r>
              <a:rPr lang="en-GB" noProof="0" dirty="0"/>
              <a:t>Third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3"/>
            <a:r>
              <a:rPr lang="en-GB" noProof="0" dirty="0" err="1"/>
              <a:t>Fourth</a:t>
            </a:r>
            <a:r>
              <a:rPr lang="en-GB" noProof="0" dirty="0"/>
              <a:t>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</p:txBody>
      </p:sp>
      <p:sp>
        <p:nvSpPr>
          <p:cNvPr id="13" name="Titel 4">
            <a:extLst>
              <a:ext uri="{FF2B5EF4-FFF2-40B4-BE49-F238E27FC236}">
                <a16:creationId xmlns:a16="http://schemas.microsoft.com/office/drawing/2014/main" id="{BAC0196D-514D-46A6-A03F-5BB2BFFCC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0" y="836613"/>
            <a:ext cx="5688013" cy="574675"/>
          </a:xfrm>
        </p:spPr>
        <p:txBody>
          <a:bodyPr tIns="144000" rIns="0"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Header </a:t>
            </a:r>
            <a:r>
              <a:rPr lang="en-GB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89238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D5636C-4A3B-4687-A32F-A23F073303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0" y="3002629"/>
            <a:ext cx="7632165" cy="439200"/>
          </a:xfrm>
        </p:spPr>
        <p:txBody>
          <a:bodyPr tIns="0" rIns="0" anchor="b"/>
          <a:lstStyle>
            <a:lvl1pPr>
              <a:defRPr/>
            </a:lvl1pPr>
          </a:lstStyle>
          <a:p>
            <a:r>
              <a:rPr lang="en-GB" noProof="0"/>
              <a:t>Na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DD7453-3D77-4899-8249-C2AE1A1878FC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479CB9C-37D9-451C-B494-161CC4B826BD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34511B7-2BED-45DB-8C67-E37B5196F6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4515AA9-6163-4AFF-9843-E18F50895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C9A3B9A-95AA-4913-969A-F19C557D1B4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 bwMode="gray">
          <a:xfrm>
            <a:off x="336550" y="4005263"/>
            <a:ext cx="7632165" cy="71913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FA533901-D860-4E7E-A5C4-5A4116A26262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 bwMode="gray">
          <a:xfrm>
            <a:off x="336550" y="4868863"/>
            <a:ext cx="7632165" cy="1289485"/>
          </a:xfrm>
        </p:spPr>
        <p:txBody>
          <a:bodyPr anchor="b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9500" algn="l"/>
              </a:tabLst>
              <a:defRPr sz="1800" b="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First text level for bullet points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70B089D3-CF39-44CB-9B6F-CF35F004D8F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gray">
          <a:xfrm>
            <a:off x="8113825" y="4005263"/>
            <a:ext cx="3742678" cy="863600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First text level for bullet points</a:t>
            </a:r>
          </a:p>
          <a:p>
            <a:endParaRPr lang="en-GB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52C86FB-A613-4E59-A8BA-FD8F2C23664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9621639" y="2557114"/>
            <a:ext cx="1705719" cy="555427"/>
          </a:xfrm>
          <a:custGeom>
            <a:avLst/>
            <a:gdLst/>
            <a:ahLst/>
            <a:cxnLst/>
            <a:rect l="l" t="t" r="r" b="b"/>
            <a:pathLst>
              <a:path w="1705719" h="555427">
                <a:moveTo>
                  <a:pt x="1510457" y="421928"/>
                </a:moveTo>
                <a:cubicBezTo>
                  <a:pt x="1501329" y="421928"/>
                  <a:pt x="1493788" y="425252"/>
                  <a:pt x="1487835" y="431899"/>
                </a:cubicBezTo>
                <a:cubicBezTo>
                  <a:pt x="1481882" y="438547"/>
                  <a:pt x="1478955" y="447576"/>
                  <a:pt x="1479054" y="458986"/>
                </a:cubicBezTo>
                <a:lnTo>
                  <a:pt x="1541562" y="458986"/>
                </a:lnTo>
                <a:cubicBezTo>
                  <a:pt x="1541264" y="446881"/>
                  <a:pt x="1538139" y="437679"/>
                  <a:pt x="1532186" y="431378"/>
                </a:cubicBezTo>
                <a:cubicBezTo>
                  <a:pt x="1526233" y="425078"/>
                  <a:pt x="1518989" y="421928"/>
                  <a:pt x="1510457" y="421928"/>
                </a:cubicBezTo>
                <a:close/>
                <a:moveTo>
                  <a:pt x="1138982" y="421928"/>
                </a:moveTo>
                <a:cubicBezTo>
                  <a:pt x="1129853" y="421928"/>
                  <a:pt x="1122313" y="425252"/>
                  <a:pt x="1116360" y="431899"/>
                </a:cubicBezTo>
                <a:cubicBezTo>
                  <a:pt x="1110407" y="438547"/>
                  <a:pt x="1107480" y="447576"/>
                  <a:pt x="1107579" y="458986"/>
                </a:cubicBezTo>
                <a:lnTo>
                  <a:pt x="1170087" y="458986"/>
                </a:lnTo>
                <a:cubicBezTo>
                  <a:pt x="1169789" y="446881"/>
                  <a:pt x="1166664" y="437679"/>
                  <a:pt x="1160711" y="431378"/>
                </a:cubicBezTo>
                <a:cubicBezTo>
                  <a:pt x="1154757" y="425078"/>
                  <a:pt x="1147515" y="421928"/>
                  <a:pt x="1138982" y="421928"/>
                </a:cubicBezTo>
                <a:close/>
                <a:moveTo>
                  <a:pt x="557957" y="421928"/>
                </a:moveTo>
                <a:cubicBezTo>
                  <a:pt x="548829" y="421928"/>
                  <a:pt x="541288" y="425252"/>
                  <a:pt x="535335" y="431899"/>
                </a:cubicBezTo>
                <a:cubicBezTo>
                  <a:pt x="529382" y="438547"/>
                  <a:pt x="526455" y="447576"/>
                  <a:pt x="526554" y="458986"/>
                </a:cubicBezTo>
                <a:lnTo>
                  <a:pt x="589062" y="458986"/>
                </a:lnTo>
                <a:cubicBezTo>
                  <a:pt x="588764" y="446881"/>
                  <a:pt x="585639" y="437679"/>
                  <a:pt x="579686" y="431378"/>
                </a:cubicBezTo>
                <a:cubicBezTo>
                  <a:pt x="573733" y="425078"/>
                  <a:pt x="566489" y="421928"/>
                  <a:pt x="557957" y="421928"/>
                </a:cubicBezTo>
                <a:close/>
                <a:moveTo>
                  <a:pt x="1247626" y="393502"/>
                </a:moveTo>
                <a:lnTo>
                  <a:pt x="1289447" y="393502"/>
                </a:lnTo>
                <a:lnTo>
                  <a:pt x="1289447" y="551557"/>
                </a:lnTo>
                <a:lnTo>
                  <a:pt x="1247626" y="551557"/>
                </a:lnTo>
                <a:close/>
                <a:moveTo>
                  <a:pt x="1507927" y="389930"/>
                </a:moveTo>
                <a:cubicBezTo>
                  <a:pt x="1531441" y="389930"/>
                  <a:pt x="1549995" y="397694"/>
                  <a:pt x="1563589" y="413221"/>
                </a:cubicBezTo>
                <a:cubicBezTo>
                  <a:pt x="1577181" y="428749"/>
                  <a:pt x="1583680" y="452537"/>
                  <a:pt x="1583085" y="484585"/>
                </a:cubicBezTo>
                <a:lnTo>
                  <a:pt x="1478310" y="484585"/>
                </a:lnTo>
                <a:cubicBezTo>
                  <a:pt x="1478607" y="496987"/>
                  <a:pt x="1481981" y="506636"/>
                  <a:pt x="1488430" y="513532"/>
                </a:cubicBezTo>
                <a:cubicBezTo>
                  <a:pt x="1494879" y="520427"/>
                  <a:pt x="1502916" y="523875"/>
                  <a:pt x="1512540" y="523875"/>
                </a:cubicBezTo>
                <a:cubicBezTo>
                  <a:pt x="1519089" y="523875"/>
                  <a:pt x="1524595" y="522089"/>
                  <a:pt x="1529060" y="518517"/>
                </a:cubicBezTo>
                <a:cubicBezTo>
                  <a:pt x="1533525" y="514945"/>
                  <a:pt x="1536899" y="509191"/>
                  <a:pt x="1539181" y="501253"/>
                </a:cubicBezTo>
                <a:lnTo>
                  <a:pt x="1580853" y="508248"/>
                </a:lnTo>
                <a:cubicBezTo>
                  <a:pt x="1575495" y="523528"/>
                  <a:pt x="1567036" y="535161"/>
                  <a:pt x="1555477" y="543148"/>
                </a:cubicBezTo>
                <a:cubicBezTo>
                  <a:pt x="1543918" y="551136"/>
                  <a:pt x="1529457" y="555129"/>
                  <a:pt x="1512094" y="555129"/>
                </a:cubicBezTo>
                <a:cubicBezTo>
                  <a:pt x="1484610" y="555129"/>
                  <a:pt x="1464271" y="546150"/>
                  <a:pt x="1451074" y="528191"/>
                </a:cubicBezTo>
                <a:cubicBezTo>
                  <a:pt x="1440656" y="513804"/>
                  <a:pt x="1435447" y="495647"/>
                  <a:pt x="1435447" y="473720"/>
                </a:cubicBezTo>
                <a:cubicBezTo>
                  <a:pt x="1435447" y="447526"/>
                  <a:pt x="1442293" y="427013"/>
                  <a:pt x="1455986" y="412180"/>
                </a:cubicBezTo>
                <a:cubicBezTo>
                  <a:pt x="1469678" y="397346"/>
                  <a:pt x="1486991" y="389930"/>
                  <a:pt x="1507927" y="389930"/>
                </a:cubicBezTo>
                <a:close/>
                <a:moveTo>
                  <a:pt x="1136452" y="389930"/>
                </a:moveTo>
                <a:cubicBezTo>
                  <a:pt x="1159967" y="389930"/>
                  <a:pt x="1178520" y="397694"/>
                  <a:pt x="1192113" y="413221"/>
                </a:cubicBezTo>
                <a:cubicBezTo>
                  <a:pt x="1205706" y="428749"/>
                  <a:pt x="1212205" y="452537"/>
                  <a:pt x="1211610" y="484585"/>
                </a:cubicBezTo>
                <a:lnTo>
                  <a:pt x="1106835" y="484585"/>
                </a:lnTo>
                <a:cubicBezTo>
                  <a:pt x="1107133" y="496987"/>
                  <a:pt x="1110506" y="506636"/>
                  <a:pt x="1116955" y="513532"/>
                </a:cubicBezTo>
                <a:cubicBezTo>
                  <a:pt x="1123404" y="520427"/>
                  <a:pt x="1131441" y="523875"/>
                  <a:pt x="1141065" y="523875"/>
                </a:cubicBezTo>
                <a:cubicBezTo>
                  <a:pt x="1147614" y="523875"/>
                  <a:pt x="1153120" y="522089"/>
                  <a:pt x="1157585" y="518517"/>
                </a:cubicBezTo>
                <a:cubicBezTo>
                  <a:pt x="1162050" y="514945"/>
                  <a:pt x="1165423" y="509191"/>
                  <a:pt x="1167706" y="501253"/>
                </a:cubicBezTo>
                <a:lnTo>
                  <a:pt x="1209377" y="508248"/>
                </a:lnTo>
                <a:cubicBezTo>
                  <a:pt x="1204020" y="523528"/>
                  <a:pt x="1195561" y="535161"/>
                  <a:pt x="1184002" y="543148"/>
                </a:cubicBezTo>
                <a:cubicBezTo>
                  <a:pt x="1172443" y="551136"/>
                  <a:pt x="1157982" y="555129"/>
                  <a:pt x="1140619" y="555129"/>
                </a:cubicBezTo>
                <a:cubicBezTo>
                  <a:pt x="1113135" y="555129"/>
                  <a:pt x="1092795" y="546150"/>
                  <a:pt x="1079599" y="528191"/>
                </a:cubicBezTo>
                <a:cubicBezTo>
                  <a:pt x="1069181" y="513804"/>
                  <a:pt x="1063972" y="495647"/>
                  <a:pt x="1063972" y="473720"/>
                </a:cubicBezTo>
                <a:cubicBezTo>
                  <a:pt x="1063972" y="447526"/>
                  <a:pt x="1070819" y="427013"/>
                  <a:pt x="1084511" y="412180"/>
                </a:cubicBezTo>
                <a:cubicBezTo>
                  <a:pt x="1098203" y="397346"/>
                  <a:pt x="1115517" y="389930"/>
                  <a:pt x="1136452" y="389930"/>
                </a:cubicBezTo>
                <a:close/>
                <a:moveTo>
                  <a:pt x="739676" y="389930"/>
                </a:moveTo>
                <a:cubicBezTo>
                  <a:pt x="749201" y="389930"/>
                  <a:pt x="758379" y="392559"/>
                  <a:pt x="767209" y="397818"/>
                </a:cubicBezTo>
                <a:lnTo>
                  <a:pt x="754261" y="434281"/>
                </a:lnTo>
                <a:cubicBezTo>
                  <a:pt x="747216" y="429717"/>
                  <a:pt x="740668" y="427435"/>
                  <a:pt x="734616" y="427435"/>
                </a:cubicBezTo>
                <a:cubicBezTo>
                  <a:pt x="728762" y="427435"/>
                  <a:pt x="723801" y="429047"/>
                  <a:pt x="719733" y="432271"/>
                </a:cubicBezTo>
                <a:cubicBezTo>
                  <a:pt x="715665" y="435496"/>
                  <a:pt x="712465" y="441325"/>
                  <a:pt x="710133" y="449759"/>
                </a:cubicBezTo>
                <a:cubicBezTo>
                  <a:pt x="707802" y="458192"/>
                  <a:pt x="706636" y="475853"/>
                  <a:pt x="706636" y="502742"/>
                </a:cubicBezTo>
                <a:lnTo>
                  <a:pt x="706636" y="551557"/>
                </a:lnTo>
                <a:lnTo>
                  <a:pt x="664815" y="551557"/>
                </a:lnTo>
                <a:lnTo>
                  <a:pt x="664815" y="393502"/>
                </a:lnTo>
                <a:lnTo>
                  <a:pt x="703659" y="393502"/>
                </a:lnTo>
                <a:lnTo>
                  <a:pt x="703659" y="415975"/>
                </a:lnTo>
                <a:cubicBezTo>
                  <a:pt x="710307" y="405358"/>
                  <a:pt x="716285" y="398363"/>
                  <a:pt x="721593" y="394990"/>
                </a:cubicBezTo>
                <a:cubicBezTo>
                  <a:pt x="726901" y="391617"/>
                  <a:pt x="732929" y="389930"/>
                  <a:pt x="739676" y="389930"/>
                </a:cubicBezTo>
                <a:close/>
                <a:moveTo>
                  <a:pt x="555427" y="389930"/>
                </a:moveTo>
                <a:cubicBezTo>
                  <a:pt x="578941" y="389930"/>
                  <a:pt x="597495" y="397694"/>
                  <a:pt x="611088" y="413221"/>
                </a:cubicBezTo>
                <a:cubicBezTo>
                  <a:pt x="624681" y="428749"/>
                  <a:pt x="631180" y="452537"/>
                  <a:pt x="630585" y="484585"/>
                </a:cubicBezTo>
                <a:lnTo>
                  <a:pt x="525810" y="484585"/>
                </a:lnTo>
                <a:cubicBezTo>
                  <a:pt x="526107" y="496987"/>
                  <a:pt x="529481" y="506636"/>
                  <a:pt x="535930" y="513532"/>
                </a:cubicBezTo>
                <a:cubicBezTo>
                  <a:pt x="542379" y="520427"/>
                  <a:pt x="550416" y="523875"/>
                  <a:pt x="560040" y="523875"/>
                </a:cubicBezTo>
                <a:cubicBezTo>
                  <a:pt x="566589" y="523875"/>
                  <a:pt x="572095" y="522089"/>
                  <a:pt x="576560" y="518517"/>
                </a:cubicBezTo>
                <a:cubicBezTo>
                  <a:pt x="581025" y="514945"/>
                  <a:pt x="584399" y="509191"/>
                  <a:pt x="586681" y="501253"/>
                </a:cubicBezTo>
                <a:lnTo>
                  <a:pt x="628353" y="508248"/>
                </a:lnTo>
                <a:cubicBezTo>
                  <a:pt x="622995" y="523528"/>
                  <a:pt x="614536" y="535161"/>
                  <a:pt x="602977" y="543148"/>
                </a:cubicBezTo>
                <a:cubicBezTo>
                  <a:pt x="591418" y="551136"/>
                  <a:pt x="576957" y="555129"/>
                  <a:pt x="559594" y="555129"/>
                </a:cubicBezTo>
                <a:cubicBezTo>
                  <a:pt x="532110" y="555129"/>
                  <a:pt x="511770" y="546150"/>
                  <a:pt x="498574" y="528191"/>
                </a:cubicBezTo>
                <a:cubicBezTo>
                  <a:pt x="488156" y="513804"/>
                  <a:pt x="482947" y="495647"/>
                  <a:pt x="482947" y="473720"/>
                </a:cubicBezTo>
                <a:cubicBezTo>
                  <a:pt x="482947" y="447526"/>
                  <a:pt x="489793" y="427013"/>
                  <a:pt x="503486" y="412180"/>
                </a:cubicBezTo>
                <a:cubicBezTo>
                  <a:pt x="517178" y="397346"/>
                  <a:pt x="534491" y="389930"/>
                  <a:pt x="555427" y="389930"/>
                </a:cubicBezTo>
                <a:close/>
                <a:moveTo>
                  <a:pt x="444401" y="389930"/>
                </a:moveTo>
                <a:cubicBezTo>
                  <a:pt x="453926" y="389930"/>
                  <a:pt x="463104" y="392559"/>
                  <a:pt x="471934" y="397818"/>
                </a:cubicBezTo>
                <a:lnTo>
                  <a:pt x="458986" y="434281"/>
                </a:lnTo>
                <a:cubicBezTo>
                  <a:pt x="451941" y="429717"/>
                  <a:pt x="445393" y="427435"/>
                  <a:pt x="439341" y="427435"/>
                </a:cubicBezTo>
                <a:cubicBezTo>
                  <a:pt x="433487" y="427435"/>
                  <a:pt x="428526" y="429047"/>
                  <a:pt x="424458" y="432271"/>
                </a:cubicBezTo>
                <a:cubicBezTo>
                  <a:pt x="420390" y="435496"/>
                  <a:pt x="417190" y="441325"/>
                  <a:pt x="414859" y="449759"/>
                </a:cubicBezTo>
                <a:cubicBezTo>
                  <a:pt x="412527" y="458192"/>
                  <a:pt x="411361" y="475853"/>
                  <a:pt x="411361" y="502742"/>
                </a:cubicBezTo>
                <a:lnTo>
                  <a:pt x="411361" y="551557"/>
                </a:lnTo>
                <a:lnTo>
                  <a:pt x="369540" y="551557"/>
                </a:lnTo>
                <a:lnTo>
                  <a:pt x="369540" y="393502"/>
                </a:lnTo>
                <a:lnTo>
                  <a:pt x="408384" y="393502"/>
                </a:lnTo>
                <a:lnTo>
                  <a:pt x="408384" y="415975"/>
                </a:lnTo>
                <a:cubicBezTo>
                  <a:pt x="415032" y="405358"/>
                  <a:pt x="421010" y="398363"/>
                  <a:pt x="426318" y="394990"/>
                </a:cubicBezTo>
                <a:cubicBezTo>
                  <a:pt x="431626" y="391617"/>
                  <a:pt x="437654" y="389930"/>
                  <a:pt x="444401" y="389930"/>
                </a:cubicBezTo>
                <a:close/>
                <a:moveTo>
                  <a:pt x="1386781" y="337691"/>
                </a:moveTo>
                <a:lnTo>
                  <a:pt x="1386781" y="393502"/>
                </a:lnTo>
                <a:lnTo>
                  <a:pt x="1415356" y="393502"/>
                </a:lnTo>
                <a:lnTo>
                  <a:pt x="1415356" y="426839"/>
                </a:lnTo>
                <a:lnTo>
                  <a:pt x="1386781" y="426839"/>
                </a:lnTo>
                <a:lnTo>
                  <a:pt x="1386781" y="490538"/>
                </a:lnTo>
                <a:cubicBezTo>
                  <a:pt x="1386781" y="503436"/>
                  <a:pt x="1387053" y="510952"/>
                  <a:pt x="1387599" y="513085"/>
                </a:cubicBezTo>
                <a:cubicBezTo>
                  <a:pt x="1388145" y="515218"/>
                  <a:pt x="1389385" y="516980"/>
                  <a:pt x="1391320" y="518369"/>
                </a:cubicBezTo>
                <a:cubicBezTo>
                  <a:pt x="1393255" y="519758"/>
                  <a:pt x="1395611" y="520452"/>
                  <a:pt x="1398389" y="520452"/>
                </a:cubicBezTo>
                <a:cubicBezTo>
                  <a:pt x="1402259" y="520452"/>
                  <a:pt x="1407865" y="519113"/>
                  <a:pt x="1415207" y="516434"/>
                </a:cubicBezTo>
                <a:lnTo>
                  <a:pt x="1418779" y="548878"/>
                </a:lnTo>
                <a:cubicBezTo>
                  <a:pt x="1409055" y="553045"/>
                  <a:pt x="1398042" y="555129"/>
                  <a:pt x="1385739" y="555129"/>
                </a:cubicBezTo>
                <a:cubicBezTo>
                  <a:pt x="1378198" y="555129"/>
                  <a:pt x="1371402" y="553864"/>
                  <a:pt x="1365349" y="551334"/>
                </a:cubicBezTo>
                <a:cubicBezTo>
                  <a:pt x="1359297" y="548804"/>
                  <a:pt x="1354857" y="545530"/>
                  <a:pt x="1352029" y="541511"/>
                </a:cubicBezTo>
                <a:cubicBezTo>
                  <a:pt x="1349201" y="537493"/>
                  <a:pt x="1347242" y="532061"/>
                  <a:pt x="1346151" y="525215"/>
                </a:cubicBezTo>
                <a:cubicBezTo>
                  <a:pt x="1345257" y="520353"/>
                  <a:pt x="1344811" y="510530"/>
                  <a:pt x="1344811" y="495747"/>
                </a:cubicBezTo>
                <a:lnTo>
                  <a:pt x="1344811" y="426839"/>
                </a:lnTo>
                <a:lnTo>
                  <a:pt x="1325612" y="426839"/>
                </a:lnTo>
                <a:lnTo>
                  <a:pt x="1325612" y="393502"/>
                </a:lnTo>
                <a:lnTo>
                  <a:pt x="1344811" y="393502"/>
                </a:lnTo>
                <a:lnTo>
                  <a:pt x="1344811" y="362099"/>
                </a:lnTo>
                <a:close/>
                <a:moveTo>
                  <a:pt x="1247626" y="333375"/>
                </a:moveTo>
                <a:lnTo>
                  <a:pt x="1289447" y="333375"/>
                </a:lnTo>
                <a:lnTo>
                  <a:pt x="1289447" y="372070"/>
                </a:lnTo>
                <a:lnTo>
                  <a:pt x="1247626" y="372070"/>
                </a:lnTo>
                <a:close/>
                <a:moveTo>
                  <a:pt x="190202" y="333375"/>
                </a:moveTo>
                <a:lnTo>
                  <a:pt x="232023" y="333375"/>
                </a:lnTo>
                <a:lnTo>
                  <a:pt x="232023" y="413594"/>
                </a:lnTo>
                <a:cubicBezTo>
                  <a:pt x="245517" y="397818"/>
                  <a:pt x="261640" y="389930"/>
                  <a:pt x="280392" y="389930"/>
                </a:cubicBezTo>
                <a:cubicBezTo>
                  <a:pt x="290017" y="389930"/>
                  <a:pt x="298698" y="391716"/>
                  <a:pt x="306437" y="395288"/>
                </a:cubicBezTo>
                <a:cubicBezTo>
                  <a:pt x="314176" y="398860"/>
                  <a:pt x="320005" y="403424"/>
                  <a:pt x="323925" y="408980"/>
                </a:cubicBezTo>
                <a:cubicBezTo>
                  <a:pt x="327844" y="414536"/>
                  <a:pt x="330523" y="420688"/>
                  <a:pt x="331961" y="427435"/>
                </a:cubicBezTo>
                <a:cubicBezTo>
                  <a:pt x="333400" y="434181"/>
                  <a:pt x="334119" y="444649"/>
                  <a:pt x="334119" y="458837"/>
                </a:cubicBezTo>
                <a:lnTo>
                  <a:pt x="334119" y="551557"/>
                </a:lnTo>
                <a:lnTo>
                  <a:pt x="292299" y="551557"/>
                </a:lnTo>
                <a:lnTo>
                  <a:pt x="292299" y="468065"/>
                </a:lnTo>
                <a:cubicBezTo>
                  <a:pt x="292299" y="451495"/>
                  <a:pt x="291505" y="440978"/>
                  <a:pt x="289917" y="436513"/>
                </a:cubicBezTo>
                <a:cubicBezTo>
                  <a:pt x="288330" y="432048"/>
                  <a:pt x="285527" y="428501"/>
                  <a:pt x="281509" y="425872"/>
                </a:cubicBezTo>
                <a:cubicBezTo>
                  <a:pt x="277490" y="423242"/>
                  <a:pt x="272455" y="421928"/>
                  <a:pt x="266402" y="421928"/>
                </a:cubicBezTo>
                <a:cubicBezTo>
                  <a:pt x="259457" y="421928"/>
                  <a:pt x="253256" y="423615"/>
                  <a:pt x="247799" y="426988"/>
                </a:cubicBezTo>
                <a:cubicBezTo>
                  <a:pt x="242342" y="430362"/>
                  <a:pt x="238348" y="435446"/>
                  <a:pt x="235818" y="442243"/>
                </a:cubicBezTo>
                <a:cubicBezTo>
                  <a:pt x="233288" y="449039"/>
                  <a:pt x="232023" y="459085"/>
                  <a:pt x="232023" y="472381"/>
                </a:cubicBezTo>
                <a:lnTo>
                  <a:pt x="232023" y="551557"/>
                </a:lnTo>
                <a:lnTo>
                  <a:pt x="190202" y="551557"/>
                </a:lnTo>
                <a:close/>
                <a:moveTo>
                  <a:pt x="113109" y="333375"/>
                </a:moveTo>
                <a:lnTo>
                  <a:pt x="157163" y="333375"/>
                </a:lnTo>
                <a:lnTo>
                  <a:pt x="157163" y="551557"/>
                </a:lnTo>
                <a:lnTo>
                  <a:pt x="113109" y="551557"/>
                </a:lnTo>
                <a:close/>
                <a:moveTo>
                  <a:pt x="952798" y="329654"/>
                </a:moveTo>
                <a:cubicBezTo>
                  <a:pt x="980182" y="329654"/>
                  <a:pt x="1000795" y="335657"/>
                  <a:pt x="1014636" y="347663"/>
                </a:cubicBezTo>
                <a:cubicBezTo>
                  <a:pt x="1028477" y="359668"/>
                  <a:pt x="1035745" y="375692"/>
                  <a:pt x="1036439" y="395734"/>
                </a:cubicBezTo>
                <a:lnTo>
                  <a:pt x="992386" y="397669"/>
                </a:lnTo>
                <a:cubicBezTo>
                  <a:pt x="990501" y="386457"/>
                  <a:pt x="986458" y="378396"/>
                  <a:pt x="980257" y="373484"/>
                </a:cubicBezTo>
                <a:cubicBezTo>
                  <a:pt x="974055" y="368573"/>
                  <a:pt x="964754" y="366117"/>
                  <a:pt x="952351" y="366117"/>
                </a:cubicBezTo>
                <a:cubicBezTo>
                  <a:pt x="939552" y="366117"/>
                  <a:pt x="929531" y="368747"/>
                  <a:pt x="922288" y="374005"/>
                </a:cubicBezTo>
                <a:cubicBezTo>
                  <a:pt x="917625" y="377379"/>
                  <a:pt x="915293" y="381893"/>
                  <a:pt x="915293" y="387549"/>
                </a:cubicBezTo>
                <a:cubicBezTo>
                  <a:pt x="915293" y="392708"/>
                  <a:pt x="917476" y="397123"/>
                  <a:pt x="921841" y="400794"/>
                </a:cubicBezTo>
                <a:cubicBezTo>
                  <a:pt x="927398" y="405458"/>
                  <a:pt x="940891" y="410319"/>
                  <a:pt x="962323" y="415379"/>
                </a:cubicBezTo>
                <a:cubicBezTo>
                  <a:pt x="983754" y="420440"/>
                  <a:pt x="999604" y="425673"/>
                  <a:pt x="1009873" y="431081"/>
                </a:cubicBezTo>
                <a:cubicBezTo>
                  <a:pt x="1020143" y="436488"/>
                  <a:pt x="1028179" y="443880"/>
                  <a:pt x="1033983" y="453256"/>
                </a:cubicBezTo>
                <a:cubicBezTo>
                  <a:pt x="1039788" y="462632"/>
                  <a:pt x="1042690" y="474216"/>
                  <a:pt x="1042690" y="488008"/>
                </a:cubicBezTo>
                <a:cubicBezTo>
                  <a:pt x="1042690" y="500509"/>
                  <a:pt x="1039217" y="512217"/>
                  <a:pt x="1032272" y="523131"/>
                </a:cubicBezTo>
                <a:cubicBezTo>
                  <a:pt x="1025327" y="534045"/>
                  <a:pt x="1015504" y="542156"/>
                  <a:pt x="1002804" y="547464"/>
                </a:cubicBezTo>
                <a:cubicBezTo>
                  <a:pt x="990104" y="552773"/>
                  <a:pt x="974279" y="555427"/>
                  <a:pt x="955328" y="555427"/>
                </a:cubicBezTo>
                <a:cubicBezTo>
                  <a:pt x="927745" y="555427"/>
                  <a:pt x="906562" y="549052"/>
                  <a:pt x="891778" y="536302"/>
                </a:cubicBezTo>
                <a:cubicBezTo>
                  <a:pt x="876995" y="523553"/>
                  <a:pt x="868164" y="504974"/>
                  <a:pt x="865287" y="480566"/>
                </a:cubicBezTo>
                <a:lnTo>
                  <a:pt x="908149" y="476399"/>
                </a:lnTo>
                <a:cubicBezTo>
                  <a:pt x="910729" y="490786"/>
                  <a:pt x="915963" y="501353"/>
                  <a:pt x="923851" y="508099"/>
                </a:cubicBezTo>
                <a:cubicBezTo>
                  <a:pt x="931739" y="514846"/>
                  <a:pt x="942380" y="518220"/>
                  <a:pt x="955774" y="518220"/>
                </a:cubicBezTo>
                <a:cubicBezTo>
                  <a:pt x="969963" y="518220"/>
                  <a:pt x="980653" y="515218"/>
                  <a:pt x="987847" y="509216"/>
                </a:cubicBezTo>
                <a:cubicBezTo>
                  <a:pt x="995040" y="503213"/>
                  <a:pt x="998637" y="496193"/>
                  <a:pt x="998637" y="488156"/>
                </a:cubicBezTo>
                <a:cubicBezTo>
                  <a:pt x="998637" y="482997"/>
                  <a:pt x="997124" y="478607"/>
                  <a:pt x="994098" y="474985"/>
                </a:cubicBezTo>
                <a:cubicBezTo>
                  <a:pt x="991071" y="471364"/>
                  <a:pt x="985788" y="468213"/>
                  <a:pt x="978247" y="465535"/>
                </a:cubicBezTo>
                <a:cubicBezTo>
                  <a:pt x="973088" y="463749"/>
                  <a:pt x="961331" y="460574"/>
                  <a:pt x="942975" y="456010"/>
                </a:cubicBezTo>
                <a:cubicBezTo>
                  <a:pt x="919361" y="450156"/>
                  <a:pt x="902791" y="442962"/>
                  <a:pt x="893267" y="434429"/>
                </a:cubicBezTo>
                <a:cubicBezTo>
                  <a:pt x="879872" y="422424"/>
                  <a:pt x="873175" y="407789"/>
                  <a:pt x="873175" y="390525"/>
                </a:cubicBezTo>
                <a:cubicBezTo>
                  <a:pt x="873175" y="379413"/>
                  <a:pt x="876325" y="369019"/>
                  <a:pt x="882625" y="359346"/>
                </a:cubicBezTo>
                <a:cubicBezTo>
                  <a:pt x="888926" y="349672"/>
                  <a:pt x="898004" y="342305"/>
                  <a:pt x="909861" y="337245"/>
                </a:cubicBezTo>
                <a:cubicBezTo>
                  <a:pt x="921717" y="332185"/>
                  <a:pt x="936030" y="329654"/>
                  <a:pt x="952798" y="329654"/>
                </a:cubicBezTo>
                <a:close/>
                <a:moveTo>
                  <a:pt x="1477715" y="142280"/>
                </a:moveTo>
                <a:cubicBezTo>
                  <a:pt x="1472357" y="144066"/>
                  <a:pt x="1463873" y="146199"/>
                  <a:pt x="1452265" y="148679"/>
                </a:cubicBezTo>
                <a:cubicBezTo>
                  <a:pt x="1440656" y="151160"/>
                  <a:pt x="1433066" y="153591"/>
                  <a:pt x="1429494" y="155972"/>
                </a:cubicBezTo>
                <a:cubicBezTo>
                  <a:pt x="1424037" y="159842"/>
                  <a:pt x="1421309" y="164753"/>
                  <a:pt x="1421309" y="170706"/>
                </a:cubicBezTo>
                <a:cubicBezTo>
                  <a:pt x="1421309" y="176560"/>
                  <a:pt x="1423492" y="181620"/>
                  <a:pt x="1427857" y="185886"/>
                </a:cubicBezTo>
                <a:cubicBezTo>
                  <a:pt x="1432223" y="190153"/>
                  <a:pt x="1437779" y="192286"/>
                  <a:pt x="1444526" y="192286"/>
                </a:cubicBezTo>
                <a:cubicBezTo>
                  <a:pt x="1452067" y="192286"/>
                  <a:pt x="1459260" y="189806"/>
                  <a:pt x="1466106" y="184845"/>
                </a:cubicBezTo>
                <a:cubicBezTo>
                  <a:pt x="1471166" y="181074"/>
                  <a:pt x="1474490" y="176461"/>
                  <a:pt x="1476077" y="171004"/>
                </a:cubicBezTo>
                <a:cubicBezTo>
                  <a:pt x="1477169" y="167432"/>
                  <a:pt x="1477715" y="160635"/>
                  <a:pt x="1477715" y="150614"/>
                </a:cubicBezTo>
                <a:close/>
                <a:moveTo>
                  <a:pt x="858590" y="142280"/>
                </a:moveTo>
                <a:cubicBezTo>
                  <a:pt x="853232" y="144066"/>
                  <a:pt x="844749" y="146199"/>
                  <a:pt x="833140" y="148679"/>
                </a:cubicBezTo>
                <a:cubicBezTo>
                  <a:pt x="821531" y="151160"/>
                  <a:pt x="813941" y="153591"/>
                  <a:pt x="810369" y="155972"/>
                </a:cubicBezTo>
                <a:cubicBezTo>
                  <a:pt x="804912" y="159842"/>
                  <a:pt x="802184" y="164753"/>
                  <a:pt x="802184" y="170706"/>
                </a:cubicBezTo>
                <a:cubicBezTo>
                  <a:pt x="802184" y="176560"/>
                  <a:pt x="804366" y="181620"/>
                  <a:pt x="808732" y="185886"/>
                </a:cubicBezTo>
                <a:cubicBezTo>
                  <a:pt x="813098" y="190153"/>
                  <a:pt x="818654" y="192286"/>
                  <a:pt x="825401" y="192286"/>
                </a:cubicBezTo>
                <a:cubicBezTo>
                  <a:pt x="832941" y="192286"/>
                  <a:pt x="840135" y="189806"/>
                  <a:pt x="846981" y="184845"/>
                </a:cubicBezTo>
                <a:cubicBezTo>
                  <a:pt x="852041" y="181074"/>
                  <a:pt x="855365" y="176461"/>
                  <a:pt x="856953" y="171004"/>
                </a:cubicBezTo>
                <a:cubicBezTo>
                  <a:pt x="858044" y="167432"/>
                  <a:pt x="858590" y="160635"/>
                  <a:pt x="858590" y="150614"/>
                </a:cubicBezTo>
                <a:close/>
                <a:moveTo>
                  <a:pt x="606326" y="123081"/>
                </a:moveTo>
                <a:lnTo>
                  <a:pt x="606326" y="181422"/>
                </a:lnTo>
                <a:lnTo>
                  <a:pt x="647105" y="181422"/>
                </a:lnTo>
                <a:cubicBezTo>
                  <a:pt x="662980" y="181422"/>
                  <a:pt x="673051" y="180975"/>
                  <a:pt x="677317" y="180082"/>
                </a:cubicBezTo>
                <a:cubicBezTo>
                  <a:pt x="683865" y="178892"/>
                  <a:pt x="689198" y="175989"/>
                  <a:pt x="693316" y="171376"/>
                </a:cubicBezTo>
                <a:cubicBezTo>
                  <a:pt x="697433" y="166762"/>
                  <a:pt x="699492" y="160586"/>
                  <a:pt x="699492" y="152847"/>
                </a:cubicBezTo>
                <a:cubicBezTo>
                  <a:pt x="699492" y="146298"/>
                  <a:pt x="697905" y="140742"/>
                  <a:pt x="694730" y="136178"/>
                </a:cubicBezTo>
                <a:cubicBezTo>
                  <a:pt x="691555" y="131614"/>
                  <a:pt x="686966" y="128290"/>
                  <a:pt x="680963" y="126206"/>
                </a:cubicBezTo>
                <a:cubicBezTo>
                  <a:pt x="674960" y="124123"/>
                  <a:pt x="661938" y="123081"/>
                  <a:pt x="641896" y="123081"/>
                </a:cubicBezTo>
                <a:close/>
                <a:moveTo>
                  <a:pt x="376982" y="88553"/>
                </a:moveTo>
                <a:cubicBezTo>
                  <a:pt x="367854" y="88553"/>
                  <a:pt x="360313" y="91877"/>
                  <a:pt x="354360" y="98524"/>
                </a:cubicBezTo>
                <a:cubicBezTo>
                  <a:pt x="348407" y="105172"/>
                  <a:pt x="345480" y="114201"/>
                  <a:pt x="345579" y="125611"/>
                </a:cubicBezTo>
                <a:lnTo>
                  <a:pt x="408087" y="125611"/>
                </a:lnTo>
                <a:cubicBezTo>
                  <a:pt x="407789" y="113506"/>
                  <a:pt x="404664" y="104304"/>
                  <a:pt x="398711" y="98003"/>
                </a:cubicBezTo>
                <a:cubicBezTo>
                  <a:pt x="392758" y="91703"/>
                  <a:pt x="385515" y="88553"/>
                  <a:pt x="376982" y="88553"/>
                </a:cubicBezTo>
                <a:close/>
                <a:moveTo>
                  <a:pt x="218926" y="60127"/>
                </a:moveTo>
                <a:lnTo>
                  <a:pt x="260747" y="60127"/>
                </a:lnTo>
                <a:lnTo>
                  <a:pt x="260747" y="218182"/>
                </a:lnTo>
                <a:lnTo>
                  <a:pt x="218926" y="218182"/>
                </a:lnTo>
                <a:close/>
                <a:moveTo>
                  <a:pt x="1652587" y="56555"/>
                </a:moveTo>
                <a:cubicBezTo>
                  <a:pt x="1661815" y="56555"/>
                  <a:pt x="1670249" y="58217"/>
                  <a:pt x="1677889" y="61541"/>
                </a:cubicBezTo>
                <a:cubicBezTo>
                  <a:pt x="1685528" y="64864"/>
                  <a:pt x="1691308" y="69106"/>
                  <a:pt x="1695227" y="74265"/>
                </a:cubicBezTo>
                <a:cubicBezTo>
                  <a:pt x="1699146" y="79425"/>
                  <a:pt x="1701875" y="85279"/>
                  <a:pt x="1703413" y="91827"/>
                </a:cubicBezTo>
                <a:cubicBezTo>
                  <a:pt x="1704950" y="98376"/>
                  <a:pt x="1705719" y="107752"/>
                  <a:pt x="1705719" y="119956"/>
                </a:cubicBezTo>
                <a:lnTo>
                  <a:pt x="1705719" y="218182"/>
                </a:lnTo>
                <a:lnTo>
                  <a:pt x="1663899" y="218182"/>
                </a:lnTo>
                <a:lnTo>
                  <a:pt x="1663899" y="137517"/>
                </a:lnTo>
                <a:cubicBezTo>
                  <a:pt x="1663899" y="120452"/>
                  <a:pt x="1663005" y="109414"/>
                  <a:pt x="1661220" y="104403"/>
                </a:cubicBezTo>
                <a:cubicBezTo>
                  <a:pt x="1659434" y="99392"/>
                  <a:pt x="1656531" y="95498"/>
                  <a:pt x="1652513" y="92720"/>
                </a:cubicBezTo>
                <a:cubicBezTo>
                  <a:pt x="1648495" y="89942"/>
                  <a:pt x="1643658" y="88553"/>
                  <a:pt x="1638003" y="88553"/>
                </a:cubicBezTo>
                <a:cubicBezTo>
                  <a:pt x="1630759" y="88553"/>
                  <a:pt x="1624261" y="90537"/>
                  <a:pt x="1618506" y="94506"/>
                </a:cubicBezTo>
                <a:cubicBezTo>
                  <a:pt x="1612751" y="98475"/>
                  <a:pt x="1608807" y="103733"/>
                  <a:pt x="1606674" y="110282"/>
                </a:cubicBezTo>
                <a:cubicBezTo>
                  <a:pt x="1604541" y="116830"/>
                  <a:pt x="1603474" y="128935"/>
                  <a:pt x="1603474" y="146596"/>
                </a:cubicBezTo>
                <a:lnTo>
                  <a:pt x="1603474" y="218182"/>
                </a:lnTo>
                <a:lnTo>
                  <a:pt x="1561654" y="218182"/>
                </a:lnTo>
                <a:lnTo>
                  <a:pt x="1561654" y="60127"/>
                </a:lnTo>
                <a:lnTo>
                  <a:pt x="1600498" y="60127"/>
                </a:lnTo>
                <a:lnTo>
                  <a:pt x="1600498" y="83344"/>
                </a:lnTo>
                <a:cubicBezTo>
                  <a:pt x="1614289" y="65485"/>
                  <a:pt x="1631653" y="56555"/>
                  <a:pt x="1652587" y="56555"/>
                </a:cubicBezTo>
                <a:close/>
                <a:moveTo>
                  <a:pt x="1452265" y="56555"/>
                </a:moveTo>
                <a:cubicBezTo>
                  <a:pt x="1470918" y="56555"/>
                  <a:pt x="1484809" y="58762"/>
                  <a:pt x="1493937" y="63178"/>
                </a:cubicBezTo>
                <a:cubicBezTo>
                  <a:pt x="1503065" y="67593"/>
                  <a:pt x="1509489" y="73199"/>
                  <a:pt x="1513210" y="79995"/>
                </a:cubicBezTo>
                <a:cubicBezTo>
                  <a:pt x="1516931" y="86792"/>
                  <a:pt x="1518791" y="99269"/>
                  <a:pt x="1518791" y="117426"/>
                </a:cubicBezTo>
                <a:lnTo>
                  <a:pt x="1518345" y="166241"/>
                </a:lnTo>
                <a:cubicBezTo>
                  <a:pt x="1518345" y="180132"/>
                  <a:pt x="1519014" y="190376"/>
                  <a:pt x="1520354" y="196974"/>
                </a:cubicBezTo>
                <a:cubicBezTo>
                  <a:pt x="1521693" y="203572"/>
                  <a:pt x="1524199" y="210642"/>
                  <a:pt x="1527870" y="218182"/>
                </a:cubicBezTo>
                <a:lnTo>
                  <a:pt x="1486495" y="218182"/>
                </a:lnTo>
                <a:cubicBezTo>
                  <a:pt x="1485404" y="215404"/>
                  <a:pt x="1484065" y="211287"/>
                  <a:pt x="1482477" y="205829"/>
                </a:cubicBezTo>
                <a:cubicBezTo>
                  <a:pt x="1481783" y="203349"/>
                  <a:pt x="1481287" y="201712"/>
                  <a:pt x="1480989" y="200918"/>
                </a:cubicBezTo>
                <a:cubicBezTo>
                  <a:pt x="1473845" y="207863"/>
                  <a:pt x="1466205" y="213072"/>
                  <a:pt x="1458069" y="216545"/>
                </a:cubicBezTo>
                <a:cubicBezTo>
                  <a:pt x="1449933" y="220018"/>
                  <a:pt x="1441252" y="221754"/>
                  <a:pt x="1432024" y="221754"/>
                </a:cubicBezTo>
                <a:cubicBezTo>
                  <a:pt x="1415753" y="221754"/>
                  <a:pt x="1402928" y="217339"/>
                  <a:pt x="1393552" y="208508"/>
                </a:cubicBezTo>
                <a:cubicBezTo>
                  <a:pt x="1384176" y="199678"/>
                  <a:pt x="1379488" y="188516"/>
                  <a:pt x="1379488" y="175022"/>
                </a:cubicBezTo>
                <a:cubicBezTo>
                  <a:pt x="1379488" y="166092"/>
                  <a:pt x="1381621" y="158130"/>
                  <a:pt x="1385888" y="151135"/>
                </a:cubicBezTo>
                <a:cubicBezTo>
                  <a:pt x="1390154" y="144140"/>
                  <a:pt x="1396132" y="138782"/>
                  <a:pt x="1403821" y="135062"/>
                </a:cubicBezTo>
                <a:cubicBezTo>
                  <a:pt x="1411511" y="131341"/>
                  <a:pt x="1422599" y="128092"/>
                  <a:pt x="1437085" y="125313"/>
                </a:cubicBezTo>
                <a:cubicBezTo>
                  <a:pt x="1456631" y="121642"/>
                  <a:pt x="1470174" y="118219"/>
                  <a:pt x="1477715" y="115044"/>
                </a:cubicBezTo>
                <a:lnTo>
                  <a:pt x="1477715" y="110877"/>
                </a:lnTo>
                <a:cubicBezTo>
                  <a:pt x="1477715" y="102840"/>
                  <a:pt x="1475730" y="97111"/>
                  <a:pt x="1471761" y="93687"/>
                </a:cubicBezTo>
                <a:cubicBezTo>
                  <a:pt x="1467793" y="90264"/>
                  <a:pt x="1460302" y="88553"/>
                  <a:pt x="1449288" y="88553"/>
                </a:cubicBezTo>
                <a:cubicBezTo>
                  <a:pt x="1441847" y="88553"/>
                  <a:pt x="1436043" y="90016"/>
                  <a:pt x="1431875" y="92943"/>
                </a:cubicBezTo>
                <a:cubicBezTo>
                  <a:pt x="1427708" y="95870"/>
                  <a:pt x="1424335" y="101005"/>
                  <a:pt x="1421755" y="108347"/>
                </a:cubicBezTo>
                <a:lnTo>
                  <a:pt x="1383804" y="101501"/>
                </a:lnTo>
                <a:cubicBezTo>
                  <a:pt x="1388071" y="86221"/>
                  <a:pt x="1395413" y="74910"/>
                  <a:pt x="1405831" y="67568"/>
                </a:cubicBezTo>
                <a:cubicBezTo>
                  <a:pt x="1416249" y="60226"/>
                  <a:pt x="1431727" y="56555"/>
                  <a:pt x="1452265" y="56555"/>
                </a:cubicBezTo>
                <a:close/>
                <a:moveTo>
                  <a:pt x="1033463" y="56555"/>
                </a:moveTo>
                <a:cubicBezTo>
                  <a:pt x="1042690" y="56555"/>
                  <a:pt x="1051123" y="58217"/>
                  <a:pt x="1058763" y="61541"/>
                </a:cubicBezTo>
                <a:cubicBezTo>
                  <a:pt x="1066403" y="64864"/>
                  <a:pt x="1072183" y="69106"/>
                  <a:pt x="1076102" y="74265"/>
                </a:cubicBezTo>
                <a:cubicBezTo>
                  <a:pt x="1080021" y="79425"/>
                  <a:pt x="1082749" y="85279"/>
                  <a:pt x="1084287" y="91827"/>
                </a:cubicBezTo>
                <a:cubicBezTo>
                  <a:pt x="1085825" y="98376"/>
                  <a:pt x="1086594" y="107752"/>
                  <a:pt x="1086594" y="119956"/>
                </a:cubicBezTo>
                <a:lnTo>
                  <a:pt x="1086594" y="218182"/>
                </a:lnTo>
                <a:lnTo>
                  <a:pt x="1044773" y="218182"/>
                </a:lnTo>
                <a:lnTo>
                  <a:pt x="1044773" y="137517"/>
                </a:lnTo>
                <a:cubicBezTo>
                  <a:pt x="1044773" y="120452"/>
                  <a:pt x="1043881" y="109414"/>
                  <a:pt x="1042095" y="104403"/>
                </a:cubicBezTo>
                <a:cubicBezTo>
                  <a:pt x="1040309" y="99392"/>
                  <a:pt x="1037407" y="95498"/>
                  <a:pt x="1033388" y="92720"/>
                </a:cubicBezTo>
                <a:cubicBezTo>
                  <a:pt x="1029370" y="89942"/>
                  <a:pt x="1024533" y="88553"/>
                  <a:pt x="1018877" y="88553"/>
                </a:cubicBezTo>
                <a:cubicBezTo>
                  <a:pt x="1011635" y="88553"/>
                  <a:pt x="1005135" y="90537"/>
                  <a:pt x="999381" y="94506"/>
                </a:cubicBezTo>
                <a:cubicBezTo>
                  <a:pt x="993626" y="98475"/>
                  <a:pt x="989682" y="103733"/>
                  <a:pt x="987549" y="110282"/>
                </a:cubicBezTo>
                <a:cubicBezTo>
                  <a:pt x="985416" y="116830"/>
                  <a:pt x="984349" y="128935"/>
                  <a:pt x="984349" y="146596"/>
                </a:cubicBezTo>
                <a:lnTo>
                  <a:pt x="984349" y="218182"/>
                </a:lnTo>
                <a:lnTo>
                  <a:pt x="942529" y="218182"/>
                </a:lnTo>
                <a:lnTo>
                  <a:pt x="942529" y="60127"/>
                </a:lnTo>
                <a:lnTo>
                  <a:pt x="981373" y="60127"/>
                </a:lnTo>
                <a:lnTo>
                  <a:pt x="981373" y="83344"/>
                </a:lnTo>
                <a:cubicBezTo>
                  <a:pt x="995164" y="65485"/>
                  <a:pt x="1012527" y="56555"/>
                  <a:pt x="1033463" y="56555"/>
                </a:cubicBezTo>
                <a:close/>
                <a:moveTo>
                  <a:pt x="833140" y="56555"/>
                </a:moveTo>
                <a:cubicBezTo>
                  <a:pt x="851793" y="56555"/>
                  <a:pt x="865684" y="58762"/>
                  <a:pt x="874812" y="63178"/>
                </a:cubicBezTo>
                <a:cubicBezTo>
                  <a:pt x="883940" y="67593"/>
                  <a:pt x="890364" y="73199"/>
                  <a:pt x="894085" y="79995"/>
                </a:cubicBezTo>
                <a:cubicBezTo>
                  <a:pt x="897806" y="86792"/>
                  <a:pt x="899666" y="99269"/>
                  <a:pt x="899666" y="117426"/>
                </a:cubicBezTo>
                <a:lnTo>
                  <a:pt x="899220" y="166241"/>
                </a:lnTo>
                <a:cubicBezTo>
                  <a:pt x="899220" y="180132"/>
                  <a:pt x="899889" y="190376"/>
                  <a:pt x="901229" y="196974"/>
                </a:cubicBezTo>
                <a:cubicBezTo>
                  <a:pt x="902568" y="203572"/>
                  <a:pt x="905073" y="210642"/>
                  <a:pt x="908745" y="218182"/>
                </a:cubicBezTo>
                <a:lnTo>
                  <a:pt x="867370" y="218182"/>
                </a:lnTo>
                <a:cubicBezTo>
                  <a:pt x="866279" y="215404"/>
                  <a:pt x="864939" y="211287"/>
                  <a:pt x="863352" y="205829"/>
                </a:cubicBezTo>
                <a:cubicBezTo>
                  <a:pt x="862657" y="203349"/>
                  <a:pt x="862161" y="201712"/>
                  <a:pt x="861864" y="200918"/>
                </a:cubicBezTo>
                <a:cubicBezTo>
                  <a:pt x="854720" y="207863"/>
                  <a:pt x="847080" y="213072"/>
                  <a:pt x="838944" y="216545"/>
                </a:cubicBezTo>
                <a:cubicBezTo>
                  <a:pt x="830808" y="220018"/>
                  <a:pt x="822127" y="221754"/>
                  <a:pt x="812899" y="221754"/>
                </a:cubicBezTo>
                <a:cubicBezTo>
                  <a:pt x="796627" y="221754"/>
                  <a:pt x="783803" y="217339"/>
                  <a:pt x="774427" y="208508"/>
                </a:cubicBezTo>
                <a:cubicBezTo>
                  <a:pt x="765051" y="199678"/>
                  <a:pt x="760363" y="188516"/>
                  <a:pt x="760363" y="175022"/>
                </a:cubicBezTo>
                <a:cubicBezTo>
                  <a:pt x="760363" y="166092"/>
                  <a:pt x="762496" y="158130"/>
                  <a:pt x="766763" y="151135"/>
                </a:cubicBezTo>
                <a:cubicBezTo>
                  <a:pt x="771029" y="144140"/>
                  <a:pt x="777007" y="138782"/>
                  <a:pt x="784696" y="135062"/>
                </a:cubicBezTo>
                <a:cubicBezTo>
                  <a:pt x="792386" y="131341"/>
                  <a:pt x="803473" y="128092"/>
                  <a:pt x="817959" y="125313"/>
                </a:cubicBezTo>
                <a:cubicBezTo>
                  <a:pt x="837506" y="121642"/>
                  <a:pt x="851049" y="118219"/>
                  <a:pt x="858590" y="115044"/>
                </a:cubicBezTo>
                <a:lnTo>
                  <a:pt x="858590" y="110877"/>
                </a:lnTo>
                <a:cubicBezTo>
                  <a:pt x="858590" y="102840"/>
                  <a:pt x="856605" y="97111"/>
                  <a:pt x="852637" y="93687"/>
                </a:cubicBezTo>
                <a:cubicBezTo>
                  <a:pt x="848668" y="90264"/>
                  <a:pt x="841177" y="88553"/>
                  <a:pt x="830163" y="88553"/>
                </a:cubicBezTo>
                <a:cubicBezTo>
                  <a:pt x="822722" y="88553"/>
                  <a:pt x="816918" y="90016"/>
                  <a:pt x="812751" y="92943"/>
                </a:cubicBezTo>
                <a:cubicBezTo>
                  <a:pt x="808583" y="95870"/>
                  <a:pt x="805210" y="101005"/>
                  <a:pt x="802630" y="108347"/>
                </a:cubicBezTo>
                <a:lnTo>
                  <a:pt x="764679" y="101501"/>
                </a:lnTo>
                <a:cubicBezTo>
                  <a:pt x="768945" y="86221"/>
                  <a:pt x="776288" y="74910"/>
                  <a:pt x="786706" y="67568"/>
                </a:cubicBezTo>
                <a:cubicBezTo>
                  <a:pt x="797123" y="60226"/>
                  <a:pt x="812602" y="56555"/>
                  <a:pt x="833140" y="56555"/>
                </a:cubicBezTo>
                <a:close/>
                <a:moveTo>
                  <a:pt x="374452" y="56555"/>
                </a:moveTo>
                <a:cubicBezTo>
                  <a:pt x="397966" y="56555"/>
                  <a:pt x="416520" y="64319"/>
                  <a:pt x="430113" y="79846"/>
                </a:cubicBezTo>
                <a:cubicBezTo>
                  <a:pt x="443706" y="95374"/>
                  <a:pt x="450205" y="119162"/>
                  <a:pt x="449610" y="151210"/>
                </a:cubicBezTo>
                <a:lnTo>
                  <a:pt x="344835" y="151210"/>
                </a:lnTo>
                <a:cubicBezTo>
                  <a:pt x="345133" y="163612"/>
                  <a:pt x="348506" y="173261"/>
                  <a:pt x="354955" y="180157"/>
                </a:cubicBezTo>
                <a:cubicBezTo>
                  <a:pt x="361404" y="187052"/>
                  <a:pt x="369441" y="190500"/>
                  <a:pt x="379065" y="190500"/>
                </a:cubicBezTo>
                <a:cubicBezTo>
                  <a:pt x="385614" y="190500"/>
                  <a:pt x="391120" y="188714"/>
                  <a:pt x="395585" y="185142"/>
                </a:cubicBezTo>
                <a:cubicBezTo>
                  <a:pt x="400050" y="181570"/>
                  <a:pt x="403423" y="175816"/>
                  <a:pt x="405706" y="167878"/>
                </a:cubicBezTo>
                <a:lnTo>
                  <a:pt x="447377" y="174873"/>
                </a:lnTo>
                <a:cubicBezTo>
                  <a:pt x="442020" y="190153"/>
                  <a:pt x="433561" y="201786"/>
                  <a:pt x="422002" y="209773"/>
                </a:cubicBezTo>
                <a:cubicBezTo>
                  <a:pt x="410443" y="217761"/>
                  <a:pt x="395982" y="221754"/>
                  <a:pt x="378619" y="221754"/>
                </a:cubicBezTo>
                <a:cubicBezTo>
                  <a:pt x="351135" y="221754"/>
                  <a:pt x="330795" y="212775"/>
                  <a:pt x="317599" y="194816"/>
                </a:cubicBezTo>
                <a:cubicBezTo>
                  <a:pt x="307181" y="180429"/>
                  <a:pt x="301972" y="162272"/>
                  <a:pt x="301972" y="140345"/>
                </a:cubicBezTo>
                <a:cubicBezTo>
                  <a:pt x="301972" y="114151"/>
                  <a:pt x="308818" y="93638"/>
                  <a:pt x="322511" y="78805"/>
                </a:cubicBezTo>
                <a:cubicBezTo>
                  <a:pt x="336203" y="63971"/>
                  <a:pt x="353517" y="56555"/>
                  <a:pt x="374452" y="56555"/>
                </a:cubicBezTo>
                <a:close/>
                <a:moveTo>
                  <a:pt x="44053" y="36910"/>
                </a:moveTo>
                <a:lnTo>
                  <a:pt x="44053" y="181422"/>
                </a:lnTo>
                <a:lnTo>
                  <a:pt x="76944" y="181422"/>
                </a:lnTo>
                <a:cubicBezTo>
                  <a:pt x="89247" y="181422"/>
                  <a:pt x="98127" y="180727"/>
                  <a:pt x="103585" y="179338"/>
                </a:cubicBezTo>
                <a:cubicBezTo>
                  <a:pt x="110728" y="177552"/>
                  <a:pt x="116657" y="174526"/>
                  <a:pt x="121369" y="170260"/>
                </a:cubicBezTo>
                <a:cubicBezTo>
                  <a:pt x="126082" y="165993"/>
                  <a:pt x="129927" y="158973"/>
                  <a:pt x="132904" y="149200"/>
                </a:cubicBezTo>
                <a:cubicBezTo>
                  <a:pt x="135880" y="139427"/>
                  <a:pt x="137369" y="126107"/>
                  <a:pt x="137369" y="109240"/>
                </a:cubicBezTo>
                <a:cubicBezTo>
                  <a:pt x="137369" y="92373"/>
                  <a:pt x="135880" y="79425"/>
                  <a:pt x="132904" y="70396"/>
                </a:cubicBezTo>
                <a:cubicBezTo>
                  <a:pt x="129927" y="61367"/>
                  <a:pt x="125760" y="54322"/>
                  <a:pt x="120402" y="49262"/>
                </a:cubicBezTo>
                <a:cubicBezTo>
                  <a:pt x="115044" y="44202"/>
                  <a:pt x="108248" y="40779"/>
                  <a:pt x="100013" y="38993"/>
                </a:cubicBezTo>
                <a:cubicBezTo>
                  <a:pt x="93861" y="37604"/>
                  <a:pt x="81806" y="36910"/>
                  <a:pt x="63847" y="36910"/>
                </a:cubicBezTo>
                <a:close/>
                <a:moveTo>
                  <a:pt x="606326" y="36314"/>
                </a:moveTo>
                <a:lnTo>
                  <a:pt x="606326" y="86767"/>
                </a:lnTo>
                <a:lnTo>
                  <a:pt x="635199" y="86767"/>
                </a:lnTo>
                <a:cubicBezTo>
                  <a:pt x="652363" y="86767"/>
                  <a:pt x="663029" y="86519"/>
                  <a:pt x="667197" y="86023"/>
                </a:cubicBezTo>
                <a:cubicBezTo>
                  <a:pt x="674737" y="85130"/>
                  <a:pt x="680665" y="82525"/>
                  <a:pt x="684981" y="78209"/>
                </a:cubicBezTo>
                <a:cubicBezTo>
                  <a:pt x="689298" y="73893"/>
                  <a:pt x="691456" y="68213"/>
                  <a:pt x="691456" y="61169"/>
                </a:cubicBezTo>
                <a:cubicBezTo>
                  <a:pt x="691456" y="54422"/>
                  <a:pt x="689595" y="48940"/>
                  <a:pt x="685875" y="44723"/>
                </a:cubicBezTo>
                <a:cubicBezTo>
                  <a:pt x="682154" y="40506"/>
                  <a:pt x="676622" y="37951"/>
                  <a:pt x="669280" y="37058"/>
                </a:cubicBezTo>
                <a:cubicBezTo>
                  <a:pt x="664915" y="36562"/>
                  <a:pt x="652363" y="36314"/>
                  <a:pt x="631627" y="36314"/>
                </a:cubicBezTo>
                <a:close/>
                <a:moveTo>
                  <a:pt x="1122313" y="0"/>
                </a:moveTo>
                <a:lnTo>
                  <a:pt x="1164134" y="0"/>
                </a:lnTo>
                <a:lnTo>
                  <a:pt x="1164134" y="115788"/>
                </a:lnTo>
                <a:lnTo>
                  <a:pt x="1213098" y="60127"/>
                </a:lnTo>
                <a:lnTo>
                  <a:pt x="1264593" y="60127"/>
                </a:lnTo>
                <a:lnTo>
                  <a:pt x="1210568" y="117872"/>
                </a:lnTo>
                <a:lnTo>
                  <a:pt x="1268462" y="218182"/>
                </a:lnTo>
                <a:lnTo>
                  <a:pt x="1223367" y="218182"/>
                </a:lnTo>
                <a:lnTo>
                  <a:pt x="1183630" y="147191"/>
                </a:lnTo>
                <a:lnTo>
                  <a:pt x="1164134" y="167581"/>
                </a:lnTo>
                <a:lnTo>
                  <a:pt x="1164134" y="218182"/>
                </a:lnTo>
                <a:lnTo>
                  <a:pt x="1122313" y="218182"/>
                </a:lnTo>
                <a:close/>
                <a:moveTo>
                  <a:pt x="562273" y="0"/>
                </a:moveTo>
                <a:lnTo>
                  <a:pt x="649486" y="0"/>
                </a:lnTo>
                <a:cubicBezTo>
                  <a:pt x="666750" y="0"/>
                  <a:pt x="679624" y="720"/>
                  <a:pt x="688107" y="2158"/>
                </a:cubicBezTo>
                <a:cubicBezTo>
                  <a:pt x="696590" y="3597"/>
                  <a:pt x="704180" y="6598"/>
                  <a:pt x="710878" y="11162"/>
                </a:cubicBezTo>
                <a:cubicBezTo>
                  <a:pt x="717575" y="15726"/>
                  <a:pt x="723156" y="21803"/>
                  <a:pt x="727621" y="29394"/>
                </a:cubicBezTo>
                <a:cubicBezTo>
                  <a:pt x="732086" y="36984"/>
                  <a:pt x="734318" y="45492"/>
                  <a:pt x="734318" y="54918"/>
                </a:cubicBezTo>
                <a:cubicBezTo>
                  <a:pt x="734318" y="65137"/>
                  <a:pt x="731565" y="74513"/>
                  <a:pt x="726058" y="83046"/>
                </a:cubicBezTo>
                <a:cubicBezTo>
                  <a:pt x="720551" y="91579"/>
                  <a:pt x="713085" y="97979"/>
                  <a:pt x="703659" y="102245"/>
                </a:cubicBezTo>
                <a:cubicBezTo>
                  <a:pt x="716955" y="106115"/>
                  <a:pt x="727174" y="112713"/>
                  <a:pt x="734318" y="122039"/>
                </a:cubicBezTo>
                <a:cubicBezTo>
                  <a:pt x="741462" y="131366"/>
                  <a:pt x="745034" y="142329"/>
                  <a:pt x="745034" y="154930"/>
                </a:cubicBezTo>
                <a:cubicBezTo>
                  <a:pt x="745034" y="164852"/>
                  <a:pt x="742727" y="174501"/>
                  <a:pt x="738113" y="183877"/>
                </a:cubicBezTo>
                <a:cubicBezTo>
                  <a:pt x="733499" y="193253"/>
                  <a:pt x="727199" y="200744"/>
                  <a:pt x="719212" y="206350"/>
                </a:cubicBezTo>
                <a:cubicBezTo>
                  <a:pt x="711225" y="211956"/>
                  <a:pt x="701377" y="215404"/>
                  <a:pt x="689670" y="216694"/>
                </a:cubicBezTo>
                <a:cubicBezTo>
                  <a:pt x="682327" y="217488"/>
                  <a:pt x="664617" y="217984"/>
                  <a:pt x="636538" y="218182"/>
                </a:cubicBezTo>
                <a:lnTo>
                  <a:pt x="562273" y="218182"/>
                </a:lnTo>
                <a:close/>
                <a:moveTo>
                  <a:pt x="218926" y="0"/>
                </a:moveTo>
                <a:lnTo>
                  <a:pt x="260747" y="0"/>
                </a:lnTo>
                <a:lnTo>
                  <a:pt x="260747" y="38695"/>
                </a:lnTo>
                <a:lnTo>
                  <a:pt x="218926" y="38695"/>
                </a:lnTo>
                <a:close/>
                <a:moveTo>
                  <a:pt x="0" y="0"/>
                </a:moveTo>
                <a:lnTo>
                  <a:pt x="80516" y="0"/>
                </a:lnTo>
                <a:cubicBezTo>
                  <a:pt x="98673" y="0"/>
                  <a:pt x="112514" y="1389"/>
                  <a:pt x="122039" y="4167"/>
                </a:cubicBezTo>
                <a:cubicBezTo>
                  <a:pt x="134838" y="7938"/>
                  <a:pt x="145802" y="14635"/>
                  <a:pt x="154930" y="24259"/>
                </a:cubicBezTo>
                <a:cubicBezTo>
                  <a:pt x="164058" y="33883"/>
                  <a:pt x="171004" y="45666"/>
                  <a:pt x="175766" y="59606"/>
                </a:cubicBezTo>
                <a:cubicBezTo>
                  <a:pt x="180529" y="73546"/>
                  <a:pt x="182910" y="90736"/>
                  <a:pt x="182910" y="111175"/>
                </a:cubicBezTo>
                <a:cubicBezTo>
                  <a:pt x="182910" y="129133"/>
                  <a:pt x="180677" y="144612"/>
                  <a:pt x="176213" y="157609"/>
                </a:cubicBezTo>
                <a:cubicBezTo>
                  <a:pt x="170755" y="173484"/>
                  <a:pt x="162967" y="186333"/>
                  <a:pt x="152847" y="196156"/>
                </a:cubicBezTo>
                <a:cubicBezTo>
                  <a:pt x="145207" y="203597"/>
                  <a:pt x="134888" y="209401"/>
                  <a:pt x="121890" y="213569"/>
                </a:cubicBezTo>
                <a:cubicBezTo>
                  <a:pt x="112167" y="216644"/>
                  <a:pt x="99169" y="218182"/>
                  <a:pt x="82897" y="218182"/>
                </a:cubicBezTo>
                <a:lnTo>
                  <a:pt x="0" y="21818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noProof="0"/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8E073262-D595-42F0-9DF0-3D082AFDAA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113825" y="4868863"/>
            <a:ext cx="3742678" cy="1289486"/>
          </a:xfrm>
        </p:spPr>
        <p:txBody>
          <a:bodyPr anchor="b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First text level</a:t>
            </a:r>
          </a:p>
        </p:txBody>
      </p:sp>
    </p:spTree>
    <p:extLst>
      <p:ext uri="{BB962C8B-B14F-4D97-AF65-F5344CB8AC3E}">
        <p14:creationId xmlns:p14="http://schemas.microsoft.com/office/powerpoint/2010/main" val="26485653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x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388DE1-4495-4DD6-AE8F-CB81EF4B61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FA8FABC-34B7-4C47-AF6B-7531796C831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2335F31-1335-40DD-81F8-4638CC6CCE2B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5C42281-2D18-4ED8-A742-F46088366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F63A14-DD68-4574-8C9B-28B6A6873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1FC0D689-21D1-4F05-B548-5623C98507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6550" y="4005263"/>
            <a:ext cx="277177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6A8E6CF0-88E6-4258-83B1-724B243BC18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250565" y="4005263"/>
            <a:ext cx="277177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C73755DD-5FC0-4227-B564-A663EE50AE7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169025" y="4005263"/>
            <a:ext cx="277177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3190325B-B1A6-40A7-9F37-FEF63E54B2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087485" y="4005263"/>
            <a:ext cx="277177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D1E69F50-0D88-4266-A607-C0D3DEE16C6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2771775" cy="2449512"/>
          </a:xfrm>
          <a:noFill/>
        </p:spPr>
        <p:txBody>
          <a:bodyPr lIns="180000" tIns="0" rIns="180000" bIns="72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A337B1F1-4A19-4EF7-8EE9-111AFDBF31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250565" y="1411288"/>
            <a:ext cx="2771775" cy="2449512"/>
          </a:xfrm>
          <a:noFill/>
        </p:spPr>
        <p:txBody>
          <a:bodyPr lIns="180000" tIns="0" rIns="180000" bIns="72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46677117-C9D4-4F34-894D-76590BC42D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169025" y="1411288"/>
            <a:ext cx="2771775" cy="2449512"/>
          </a:xfrm>
          <a:noFill/>
        </p:spPr>
        <p:txBody>
          <a:bodyPr lIns="180000" tIns="0" rIns="180000" bIns="72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6403F5BC-BB18-407E-A22F-B34B8329374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9087485" y="1411288"/>
            <a:ext cx="2771775" cy="2449512"/>
          </a:xfrm>
          <a:noFill/>
        </p:spPr>
        <p:txBody>
          <a:bodyPr lIns="180000" tIns="0" rIns="180000" bIns="72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</p:spTree>
    <p:extLst>
      <p:ext uri="{BB962C8B-B14F-4D97-AF65-F5344CB8AC3E}">
        <p14:creationId xmlns:p14="http://schemas.microsoft.com/office/powerpoint/2010/main" val="2096837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x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388DE1-4495-4DD6-AE8F-CB81EF4B61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FA8FABC-34B7-4C47-AF6B-7531796C831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A014ED5-D033-4C9A-A254-FD2E4DB4E675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5C42281-2D18-4ED8-A742-F46088366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F63A14-DD68-4574-8C9B-28B6A6873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280774" y="6453188"/>
            <a:ext cx="574675" cy="404812"/>
          </a:xfrm>
        </p:spPr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D7640FDE-7410-4915-92EE-5E96635220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9551" y="1411288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F266778B-D2C6-4F88-99A0-B3CDF5745D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167387" y="1411288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26" name="Textplatzhalter 14">
            <a:extLst>
              <a:ext uri="{FF2B5EF4-FFF2-40B4-BE49-F238E27FC236}">
                <a16:creationId xmlns:a16="http://schemas.microsoft.com/office/drawing/2014/main" id="{D8FED350-D682-4E24-9FD1-805C63A0EAA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0055224" y="1411288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33" name="Textplatzhalter 14">
            <a:extLst>
              <a:ext uri="{FF2B5EF4-FFF2-40B4-BE49-F238E27FC236}">
                <a16:creationId xmlns:a16="http://schemas.microsoft.com/office/drawing/2014/main" id="{FEDD2576-803F-41A3-8A60-6AF31E78CE6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279551" y="4005263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34" name="Textplatzhalter 14">
            <a:extLst>
              <a:ext uri="{FF2B5EF4-FFF2-40B4-BE49-F238E27FC236}">
                <a16:creationId xmlns:a16="http://schemas.microsoft.com/office/drawing/2014/main" id="{A7FA28E5-D15A-4E79-8C10-420812F0BFC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167387" y="4005263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35" name="Textplatzhalter 14">
            <a:extLst>
              <a:ext uri="{FF2B5EF4-FFF2-40B4-BE49-F238E27FC236}">
                <a16:creationId xmlns:a16="http://schemas.microsoft.com/office/drawing/2014/main" id="{ED35C739-05BA-4B26-BE5F-409001E94A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0055224" y="4005263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2A0F14EC-E67C-4CEB-9064-B5C37F25FEE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1799009" cy="1585912"/>
          </a:xfrm>
          <a:noFill/>
        </p:spPr>
        <p:txBody>
          <a:bodyPr lIns="180000" tIns="0" rIns="180000" bIns="0" anchor="ctr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23" name="Bildplatzhalter 8">
            <a:extLst>
              <a:ext uri="{FF2B5EF4-FFF2-40B4-BE49-F238E27FC236}">
                <a16:creationId xmlns:a16="http://schemas.microsoft.com/office/drawing/2014/main" id="{3D8C68FA-9F14-488B-89CF-F0118F2FE4A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24338" y="1411288"/>
            <a:ext cx="1800225" cy="1585912"/>
          </a:xfrm>
          <a:noFill/>
        </p:spPr>
        <p:txBody>
          <a:bodyPr lIns="180000" tIns="0" rIns="180000" bIns="0" anchor="ctr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24" name="Bildplatzhalter 8">
            <a:extLst>
              <a:ext uri="{FF2B5EF4-FFF2-40B4-BE49-F238E27FC236}">
                <a16:creationId xmlns:a16="http://schemas.microsoft.com/office/drawing/2014/main" id="{7C4E8FC6-1913-433E-B2FA-F003C1E0F17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12124" y="1411288"/>
            <a:ext cx="1800299" cy="1585912"/>
          </a:xfrm>
          <a:noFill/>
        </p:spPr>
        <p:txBody>
          <a:bodyPr lIns="180000" tIns="0" rIns="180000" bIns="0" anchor="ctr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25" name="Bildplatzhalter 8">
            <a:extLst>
              <a:ext uri="{FF2B5EF4-FFF2-40B4-BE49-F238E27FC236}">
                <a16:creationId xmlns:a16="http://schemas.microsoft.com/office/drawing/2014/main" id="{1567FCE3-A1E0-47B6-BC6D-6D73CCE2F0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36550" y="4005263"/>
            <a:ext cx="1799010" cy="1583977"/>
          </a:xfrm>
          <a:noFill/>
        </p:spPr>
        <p:txBody>
          <a:bodyPr lIns="180000" tIns="0" rIns="180000" bIns="0" anchor="ctr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27" name="Bildplatzhalter 8">
            <a:extLst>
              <a:ext uri="{FF2B5EF4-FFF2-40B4-BE49-F238E27FC236}">
                <a16:creationId xmlns:a16="http://schemas.microsoft.com/office/drawing/2014/main" id="{AA9C84AD-B511-4C18-B8C5-324B7554609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224338" y="4005263"/>
            <a:ext cx="1800225" cy="1584325"/>
          </a:xfrm>
          <a:noFill/>
        </p:spPr>
        <p:txBody>
          <a:bodyPr lIns="180000" tIns="0" rIns="180000" bIns="0" anchor="ctr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28" name="Bildplatzhalter 8">
            <a:extLst>
              <a:ext uri="{FF2B5EF4-FFF2-40B4-BE49-F238E27FC236}">
                <a16:creationId xmlns:a16="http://schemas.microsoft.com/office/drawing/2014/main" id="{FBAE3D42-E4E0-41B5-8FD6-8C4C5EF9C4E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112125" y="4005263"/>
            <a:ext cx="1800299" cy="1583977"/>
          </a:xfrm>
          <a:noFill/>
        </p:spPr>
        <p:txBody>
          <a:bodyPr lIns="180000" tIns="0" rIns="180000" bIns="0" anchor="ctr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</p:spTree>
    <p:extLst>
      <p:ext uri="{BB962C8B-B14F-4D97-AF65-F5344CB8AC3E}">
        <p14:creationId xmlns:p14="http://schemas.microsoft.com/office/powerpoint/2010/main" val="6399654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B516798-E4B4-4414-AB3E-30937398466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336550" y="692305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D2EFF16B-952D-4627-B98C-BD6BEC4786EB}" type="datetime1">
              <a:rPr lang="en-GB" noProof="0" smtClean="0"/>
              <a:t>20/10/2024</a:t>
            </a:fld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EABE745-C331-4E9F-83AF-E0923547A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336550" y="692305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GB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EC9D6A-EEDB-4842-8E50-B62D4608E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336550" y="692305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AEFDB47-5D1C-45E7-8BD0-EF74349B00F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FA8E9EB-2F9F-B47C-9C9C-68E97DD93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tretch/>
        </p:blipFill>
        <p:spPr>
          <a:xfrm>
            <a:off x="4969566" y="2678044"/>
            <a:ext cx="2252868" cy="1501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0051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Petro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B516798-E4B4-4414-AB3E-30937398466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>
          <a:xfrm>
            <a:off x="336550" y="692305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3DC7CC84-C2F4-47EC-A21E-BD7B7AE76039}" type="datetime1">
              <a:rPr lang="en-GB" noProof="0" smtClean="0"/>
              <a:t>20/10/2024</a:t>
            </a:fld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EABE745-C331-4E9F-83AF-E0923547A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>
          <a:xfrm>
            <a:off x="336550" y="692305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GB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EC9D6A-EEDB-4842-8E50-B62D4608E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>
          <a:xfrm>
            <a:off x="336550" y="692305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AEFDB47-5D1C-45E7-8BD0-EF74349B00F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DA27F47-5904-3A07-9591-C753596C02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969564" y="2678047"/>
            <a:ext cx="2252861" cy="1501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5415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Petrol /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invGray">
          <a:xfrm>
            <a:off x="336550" y="1412874"/>
            <a:ext cx="11518895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bg1"/>
                </a:solidFill>
              </a:defRPr>
            </a:lvl1pPr>
          </a:lstStyle>
          <a:p>
            <a:r>
              <a:rPr lang="pl-PL" noProof="0" dirty="0" err="1"/>
              <a:t>asdasdfadsfasdf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078022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invGray">
          <a:xfrm>
            <a:off x="336550" y="1412874"/>
            <a:ext cx="11520487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Use </a:t>
            </a:r>
            <a:r>
              <a:rPr lang="en-GB" noProof="0" dirty="0" err="1"/>
              <a:t>this</a:t>
            </a:r>
            <a:r>
              <a:rPr lang="en-GB" noProof="0" dirty="0"/>
              <a:t> </a:t>
            </a:r>
            <a:r>
              <a:rPr lang="en-GB" noProof="0" dirty="0" err="1"/>
              <a:t>slide</a:t>
            </a:r>
            <a:r>
              <a:rPr lang="en-GB" noProof="0" dirty="0"/>
              <a:t> </a:t>
            </a:r>
            <a:r>
              <a:rPr lang="en-GB" noProof="0" dirty="0" err="1"/>
              <a:t>to</a:t>
            </a:r>
            <a:r>
              <a:rPr lang="en-GB" noProof="0" dirty="0"/>
              <a:t> divide different </a:t>
            </a:r>
            <a:r>
              <a:rPr lang="en-GB" noProof="0" dirty="0" err="1"/>
              <a:t>chapters</a:t>
            </a:r>
            <a:endParaRPr lang="en-GB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invGray">
          <a:xfrm>
            <a:off x="3251200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hapter </a:t>
            </a:r>
            <a:r>
              <a:rPr lang="en-GB" noProof="0" dirty="0" err="1"/>
              <a:t>No</a:t>
            </a:r>
            <a:r>
              <a:rPr lang="en-GB" noProof="0" dirty="0"/>
              <a:t>. #</a:t>
            </a:r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inv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GB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5C3896E8-F4D3-489E-A816-530F0CB0C7A5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3DEDE0-3E07-4627-AD96-C6063050C4D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E046A40-46CA-4554-9C48-3F3E668F9DD5}" type="datetime1">
              <a:rPr lang="en-GB" smtClean="0"/>
              <a:t>20/10/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F8C092-A49F-4DD6-8F20-B661BFC69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E0284-754D-4AA2-B034-1CF352966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AEFDB47-5D1C-45E7-8BD0-EF74349B00F7}" type="slidenum">
              <a:rPr lang="en-GB" smtClean="0"/>
              <a:pPr/>
              <a:t>‹#›</a:t>
            </a:fld>
            <a:endParaRPr lang="en-GB" b="1"/>
          </a:p>
        </p:txBody>
      </p:sp>
    </p:spTree>
    <p:extLst>
      <p:ext uri="{BB962C8B-B14F-4D97-AF65-F5344CB8AC3E}">
        <p14:creationId xmlns:p14="http://schemas.microsoft.com/office/powerpoint/2010/main" val="284625438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Petrol /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invGray">
          <a:xfrm>
            <a:off x="336550" y="1412874"/>
            <a:ext cx="11518895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bg1"/>
                </a:solidFill>
              </a:defRPr>
            </a:lvl1pPr>
          </a:lstStyle>
          <a:p>
            <a:r>
              <a:rPr lang="pl-PL" noProof="0" dirty="0" err="1"/>
              <a:t>asdasdfadsfasdf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316313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 Petrol /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invGray">
          <a:xfrm>
            <a:off x="336550" y="1412874"/>
            <a:ext cx="11518895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bg1"/>
                </a:solidFill>
              </a:defRPr>
            </a:lvl1pPr>
          </a:lstStyle>
          <a:p>
            <a:r>
              <a:rPr lang="pl-PL" noProof="0" dirty="0" err="1"/>
              <a:t>asdasdfadsfasdf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773993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Petrol /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invGray">
          <a:xfrm>
            <a:off x="336550" y="1412874"/>
            <a:ext cx="11520488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Use </a:t>
            </a:r>
            <a:r>
              <a:rPr lang="en-GB" noProof="0" dirty="0" err="1"/>
              <a:t>this</a:t>
            </a:r>
            <a:r>
              <a:rPr lang="en-GB" noProof="0" dirty="0"/>
              <a:t> </a:t>
            </a:r>
            <a:r>
              <a:rPr lang="en-GB" noProof="0" dirty="0" err="1"/>
              <a:t>slide</a:t>
            </a:r>
            <a:r>
              <a:rPr lang="en-GB" noProof="0" dirty="0"/>
              <a:t> </a:t>
            </a:r>
            <a:r>
              <a:rPr lang="en-GB" noProof="0" dirty="0" err="1"/>
              <a:t>to</a:t>
            </a:r>
            <a:r>
              <a:rPr lang="en-GB" noProof="0" dirty="0"/>
              <a:t> divide different </a:t>
            </a:r>
            <a:r>
              <a:rPr lang="en-GB" noProof="0" dirty="0" err="1"/>
              <a:t>chapters</a:t>
            </a:r>
            <a:endParaRPr lang="en-GB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invGray">
          <a:xfrm>
            <a:off x="3251684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hapter </a:t>
            </a:r>
            <a:r>
              <a:rPr lang="en-GB" noProof="0" dirty="0" err="1"/>
              <a:t>No</a:t>
            </a:r>
            <a:r>
              <a:rPr lang="en-GB" noProof="0" dirty="0"/>
              <a:t>. #</a:t>
            </a:r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inv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GB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D31473-88F9-4CEE-AEF0-7B7AB8363EA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40739C-B2E6-46C2-8402-A2F699FC3393}" type="datetime1">
              <a:rPr lang="en-GB" noProof="0" smtClean="0"/>
              <a:t>20/10/2024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0676F9B-52E6-466E-9EB1-5E81CDC23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FE0B6A-A753-45D4-9CE4-04A49176B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831427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36550" y="1412874"/>
            <a:ext cx="11520487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Use </a:t>
            </a:r>
            <a:r>
              <a:rPr lang="en-GB" noProof="0" dirty="0" err="1"/>
              <a:t>this</a:t>
            </a:r>
            <a:r>
              <a:rPr lang="en-GB" noProof="0" dirty="0"/>
              <a:t> </a:t>
            </a:r>
            <a:r>
              <a:rPr lang="en-GB" noProof="0" dirty="0" err="1"/>
              <a:t>slide</a:t>
            </a:r>
            <a:r>
              <a:rPr lang="en-GB" noProof="0" dirty="0"/>
              <a:t> </a:t>
            </a:r>
            <a:r>
              <a:rPr lang="en-GB" noProof="0" dirty="0" err="1"/>
              <a:t>as</a:t>
            </a:r>
            <a:r>
              <a:rPr lang="en-GB" noProof="0" dirty="0"/>
              <a:t> a </a:t>
            </a:r>
            <a:r>
              <a:rPr lang="en-GB" noProof="0" dirty="0" err="1"/>
              <a:t>subchapter</a:t>
            </a:r>
            <a:r>
              <a:rPr lang="en-GB" noProof="0" dirty="0"/>
              <a:t> </a:t>
            </a:r>
            <a:r>
              <a:rPr lang="en-GB" noProof="0" dirty="0" err="1"/>
              <a:t>divider</a:t>
            </a:r>
            <a:endParaRPr lang="en-GB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251200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noProof="0" dirty="0"/>
              <a:t>Chapter </a:t>
            </a:r>
            <a:r>
              <a:rPr lang="en-GB" noProof="0" dirty="0" err="1"/>
              <a:t>No</a:t>
            </a:r>
            <a:r>
              <a:rPr lang="en-GB" noProof="0" dirty="0"/>
              <a:t>. #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3DEDE0-3E07-4627-AD96-C6063050C4D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391ED61-0610-4E7A-9D47-45145EC17F3C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F8C092-A49F-4DD6-8F20-B661BFC69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E0284-754D-4AA2-B034-1CF352966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9" name="Google Shape;192;p37">
            <a:extLst>
              <a:ext uri="{FF2B5EF4-FFF2-40B4-BE49-F238E27FC236}">
                <a16:creationId xmlns:a16="http://schemas.microsoft.com/office/drawing/2014/main" id="{6BEF86A6-4188-418C-9CCC-F9615322F4D4}"/>
              </a:ext>
            </a:extLst>
          </p:cNvPr>
          <p:cNvSpPr/>
          <p:nvPr userDrawn="1"/>
        </p:nvSpPr>
        <p:spPr bwMode="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GB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282543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444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71DDE5-237D-488D-8361-D82FE9E2FA41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2A4E8B29-3FFB-4C3F-B0BA-9F433FE2CB26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3E06A32-B2D9-41C6-BFF1-11EC8ABCC24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ECBDD58-EB8B-45A7-A68A-501642F5562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</p:spTree>
    <p:extLst>
      <p:ext uri="{BB962C8B-B14F-4D97-AF65-F5344CB8AC3E}">
        <p14:creationId xmlns:p14="http://schemas.microsoft.com/office/powerpoint/2010/main" val="13334051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3100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010CC23-23F4-43A4-B221-175BB62626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8"/>
            <a:ext cx="7631106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71DDE5-237D-488D-8361-D82FE9E2FA41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F34F6F2C-E817-488A-9011-E1F56A0EC361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3E06A32-B2D9-41C6-BFF1-11EC8ABCC24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ECBDD58-EB8B-45A7-A68A-501642F5562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</p:spTree>
    <p:extLst>
      <p:ext uri="{BB962C8B-B14F-4D97-AF65-F5344CB8AC3E}">
        <p14:creationId xmlns:p14="http://schemas.microsoft.com/office/powerpoint/2010/main" val="27425788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803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FA860A-0783-485F-9EA6-396743BDF5B9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7C576DB7-52F4-4AC8-92CC-95FD509B8A71}" type="datetime1">
              <a:rPr lang="en-GB" noProof="0" smtClean="0"/>
              <a:t>20/10/2024</a:t>
            </a:fld>
            <a:endParaRPr lang="en-GB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370CD-5645-4A0E-9F7D-68A2A121CDB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EBB456-7637-44EE-BC10-4EB314D3ADD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DCABA094-C500-47C0-BACF-FF45F71D07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8"/>
            <a:ext cx="5689116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3C7CA0A3-BDD9-4786-8889-58A40E7C51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166333" y="1411288"/>
            <a:ext cx="5689116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94825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32C311-42A6-4141-B8B0-3ECECF59F9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2121917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08" imgH="408" progId="TCLayout.ActiveDocument.1">
                  <p:embed/>
                </p:oleObj>
              </mc:Choice>
              <mc:Fallback>
                <p:oleObj name="think-cell Slide" r:id="rId44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32C311-42A6-4141-B8B0-3ECECF59F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A1953FA-A217-4290-B8B2-F20FA9B85E7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1" y="0"/>
            <a:ext cx="11518898" cy="1123950"/>
          </a:xfrm>
          <a:prstGeom prst="rect">
            <a:avLst/>
          </a:prstGeom>
        </p:spPr>
        <p:txBody>
          <a:bodyPr vert="horz" lIns="0" tIns="216000" rIns="864000" bIns="0" rtlCol="0" anchor="t">
            <a:noAutofit/>
          </a:bodyPr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767ADB-5B8A-488F-9884-47CB17F2FFD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6550" y="1411289"/>
            <a:ext cx="7631106" cy="5041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GB" dirty="0"/>
              <a:t>First text level for bullet points</a:t>
            </a:r>
          </a:p>
          <a:p>
            <a:pPr lvl="1"/>
            <a:r>
              <a:rPr lang="en-GB" dirty="0"/>
              <a:t>Second text level for bullet points</a:t>
            </a:r>
          </a:p>
          <a:p>
            <a:pPr lvl="2"/>
            <a:r>
              <a:rPr lang="en-GB" dirty="0"/>
              <a:t>Third text level for bullet points</a:t>
            </a:r>
          </a:p>
          <a:p>
            <a:pPr lvl="3"/>
            <a:r>
              <a:rPr lang="en-GB" dirty="0"/>
              <a:t>Fourth text level for lists</a:t>
            </a:r>
          </a:p>
          <a:p>
            <a:pPr lvl="4"/>
            <a:r>
              <a:rPr lang="en-GB" dirty="0"/>
              <a:t>Fifth text level for lists</a:t>
            </a:r>
          </a:p>
          <a:p>
            <a:pPr lvl="5"/>
            <a:r>
              <a:rPr lang="en-GB" dirty="0"/>
              <a:t>Sixth text level</a:t>
            </a:r>
          </a:p>
          <a:p>
            <a:pPr lvl="6"/>
            <a:r>
              <a:rPr lang="en-GB" dirty="0"/>
              <a:t>Seventh text level</a:t>
            </a:r>
          </a:p>
          <a:p>
            <a:pPr lvl="7"/>
            <a:r>
              <a:rPr lang="en-GB" dirty="0"/>
              <a:t>Eighth text level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37F7AE-BC98-407A-B37E-999E5E7CBE8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36550" y="6453188"/>
            <a:ext cx="863450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AE7E8-9623-4A56-808C-917C8A34CBAB}" type="datetime1">
              <a:rPr lang="en-GB" smtClean="0"/>
              <a:t>20/10/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37F4CA9-7229-4B54-884E-9BFBB3942C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251684" y="6453188"/>
            <a:ext cx="5689116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ommerzbank AG, Max </a:t>
            </a:r>
            <a:r>
              <a:rPr lang="en-GB" dirty="0" err="1"/>
              <a:t>Mustermann</a:t>
            </a:r>
            <a:r>
              <a:rPr lang="en-GB" dirty="0"/>
              <a:t>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5EDBD7-0293-448B-8ECC-9B648DDFE8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280774" y="6453188"/>
            <a:ext cx="574675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CAEFDB47-5D1C-45E7-8BD0-EF74349B00F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34A3088-83DE-FAA7-AFCF-14FAD948BE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6"/>
          <a:srcRect l="21147" r="21147" b="24759"/>
          <a:stretch/>
        </p:blipFill>
        <p:spPr>
          <a:xfrm>
            <a:off x="11522868" y="260261"/>
            <a:ext cx="335757" cy="29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928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13" r:id="rId4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975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+mj-lt"/>
        <a:buAutoNum type="arabi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363" indent="-180975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+mj-lt"/>
        <a:buAutoNum type="alphaL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80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09">
          <p15:clr>
            <a:srgbClr val="F26B43"/>
          </p15:clr>
        </p15:guide>
        <p15:guide id="5" orient="horz" pos="889">
          <p15:clr>
            <a:srgbClr val="F26B43"/>
          </p15:clr>
        </p15:guide>
        <p15:guide id="21" orient="horz" pos="3067">
          <p15:clr>
            <a:srgbClr val="F26B43"/>
          </p15:clr>
        </p15:guide>
        <p15:guide id="23" orient="horz" pos="4065">
          <p15:clr>
            <a:srgbClr val="F26B43"/>
          </p15:clr>
        </p15:guide>
        <p15:guide id="26" pos="212">
          <p15:clr>
            <a:srgbClr val="F26B43"/>
          </p15:clr>
        </p15:guide>
        <p15:guide id="28" pos="3885">
          <p15:clr>
            <a:srgbClr val="F26B43"/>
          </p15:clr>
        </p15:guide>
        <p15:guide id="45" pos="7469">
          <p15:clr>
            <a:srgbClr val="F26B43"/>
          </p15:clr>
        </p15:guide>
        <p15:guide id="46" orient="horz" pos="2976">
          <p15:clr>
            <a:srgbClr val="F26B43"/>
          </p15:clr>
        </p15:guide>
        <p15:guide id="47" orient="horz" pos="2523">
          <p15:clr>
            <a:srgbClr val="F26B43"/>
          </p15:clr>
        </p15:guide>
        <p15:guide id="48" orient="horz" pos="2432">
          <p15:clr>
            <a:srgbClr val="F26B43"/>
          </p15:clr>
        </p15:guide>
        <p15:guide id="49" orient="horz" pos="1979">
          <p15:clr>
            <a:srgbClr val="F26B43"/>
          </p15:clr>
        </p15:guide>
        <p15:guide id="50" orient="horz" pos="1888">
          <p15:clr>
            <a:srgbClr val="F26B43"/>
          </p15:clr>
        </p15:guide>
        <p15:guide id="51" pos="3795">
          <p15:clr>
            <a:srgbClr val="F26B43"/>
          </p15:clr>
        </p15:guide>
        <p15:guide id="52" pos="2661">
          <p15:clr>
            <a:srgbClr val="F26B43"/>
          </p15:clr>
        </p15:guide>
        <p15:guide id="53" pos="2570">
          <p15:clr>
            <a:srgbClr val="F26B43"/>
          </p15:clr>
        </p15:guide>
        <p15:guide id="54" pos="2048">
          <p15:clr>
            <a:srgbClr val="F26B43"/>
          </p15:clr>
        </p15:guide>
        <p15:guide id="55" pos="1958">
          <p15:clr>
            <a:srgbClr val="F26B43"/>
          </p15:clr>
        </p15:guide>
        <p15:guide id="56" pos="5019">
          <p15:clr>
            <a:srgbClr val="F26B43"/>
          </p15:clr>
        </p15:guide>
        <p15:guide id="57" pos="5110">
          <p15:clr>
            <a:srgbClr val="F26B43"/>
          </p15:clr>
        </p15:guide>
        <p15:guide id="58" pos="5632">
          <p15:clr>
            <a:srgbClr val="F26B43"/>
          </p15:clr>
        </p15:guide>
        <p15:guide id="59" pos="57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4829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5084FB77-7D8B-5CA6-C032-DEABA7A108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6000" y="2529000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41161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743E4229-51FC-F31F-57AF-E4E13E403C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6000" y="2529000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15444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A628C08F-80FA-6F20-7584-435C5581AF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6000" y="2529000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88270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5084FB77-7D8B-5CA6-C032-DEABA7A108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6000" y="2529000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27143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743E4229-51FC-F31F-57AF-E4E13E403C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6000" y="2529000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48045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79795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8410CDA8-4F84-A066-383F-3BC9255495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1104" y="773772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E726624-E2B0-4E6F-7FEA-920ECB6261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2097" y="3191151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0860FF63-FE74-05CA-9CC1-1BBAF6E37C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6125" y="3191151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87601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5">
            <a:extLst>
              <a:ext uri="{FF2B5EF4-FFF2-40B4-BE49-F238E27FC236}">
                <a16:creationId xmlns:a16="http://schemas.microsoft.com/office/drawing/2014/main" id="{9CE1D95B-E569-8EA0-5E05-0B3EABC5CD5A}"/>
              </a:ext>
            </a:extLst>
          </p:cNvPr>
          <p:cNvSpPr>
            <a:spLocks noGrp="1"/>
          </p:cNvSpPr>
          <p:nvPr>
            <p:ph type="ctrTitle"/>
          </p:nvPr>
        </p:nvSpPr>
        <p:spPr bwMode="invGray">
          <a:xfrm>
            <a:off x="5512963" y="2747687"/>
            <a:ext cx="835286" cy="1530023"/>
          </a:xfrm>
        </p:spPr>
        <p:txBody>
          <a:bodyPr anchor="t" anchorCtr="0"/>
          <a:lstStyle/>
          <a:p>
            <a:pPr algn="l"/>
            <a:r>
              <a:rPr lang="pl-PL" sz="8800" dirty="0"/>
              <a:t>?</a:t>
            </a:r>
            <a:endParaRPr lang="en-GB" sz="5400" dirty="0"/>
          </a:p>
        </p:txBody>
      </p:sp>
    </p:spTree>
    <p:extLst>
      <p:ext uri="{BB962C8B-B14F-4D97-AF65-F5344CB8AC3E}">
        <p14:creationId xmlns:p14="http://schemas.microsoft.com/office/powerpoint/2010/main" val="2454363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52655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F509951-D460-6C52-EF58-82145BCC3A8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707" y="0"/>
            <a:ext cx="9104586" cy="6858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9F0C3693-A48C-327E-D0D5-448A47D799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1104" y="773772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D4EABE5-DBAD-C312-3D8D-DB462D8C10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2097" y="3191151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CB2D3E75-0369-0B7D-F293-2B683B285C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6125" y="3191151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66862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7F5B507-E0F6-4A47-915B-200EDFDE98A7}"/>
              </a:ext>
            </a:extLst>
          </p:cNvPr>
          <p:cNvSpPr>
            <a:spLocks noGrp="1"/>
          </p:cNvSpPr>
          <p:nvPr>
            <p:ph type="ctrTitle"/>
          </p:nvPr>
        </p:nvSpPr>
        <p:spPr bwMode="invGray">
          <a:xfrm>
            <a:off x="1529542" y="1412874"/>
            <a:ext cx="9617825" cy="3311525"/>
          </a:xfrm>
        </p:spPr>
        <p:txBody>
          <a:bodyPr anchor="t" anchorCtr="0"/>
          <a:lstStyle/>
          <a:p>
            <a:pPr algn="l"/>
            <a:r>
              <a:rPr lang="pl-PL" sz="4000" dirty="0"/>
              <a:t>Banks need revenues,</a:t>
            </a:r>
            <a:br>
              <a:rPr lang="pl-PL" sz="4000" dirty="0"/>
            </a:br>
            <a:endParaRPr lang="en-GB" sz="200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A78407D-52BE-2373-8814-8513B99051E8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453188"/>
            <a:ext cx="863600" cy="404812"/>
          </a:xfrm>
        </p:spPr>
        <p:txBody>
          <a:bodyPr/>
          <a:lstStyle/>
          <a:p>
            <a:fld id="{6EA49A54-F8DB-4ED8-8BEC-99AEB5471A08}" type="datetime1">
              <a:rPr lang="en-GB" noProof="0" smtClean="0"/>
              <a:t>20/10/2024</a:t>
            </a:fld>
            <a:endParaRPr lang="en-GB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326456-6342-C14E-F5AA-40EF51651F4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17325" y="6453188"/>
            <a:ext cx="574675" cy="404812"/>
          </a:xfrm>
        </p:spPr>
        <p:txBody>
          <a:bodyPr/>
          <a:lstStyle/>
          <a:p>
            <a:fld id="{CAEFDB47-5D1C-45E7-8BD0-EF74349B00F7}" type="slidenum">
              <a:rPr lang="en-GB" noProof="0" smtClean="0"/>
              <a:pPr/>
              <a:t>2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405501085"/>
      </p:ext>
    </p:extLst>
  </p:cSld>
  <p:clrMapOvr>
    <a:masterClrMapping/>
  </p:clrMapOvr>
  <p:transition spd="slow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F509951-D460-6C52-EF58-82145BCC3A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707" y="0"/>
            <a:ext cx="9104586" cy="6858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4326119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02278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9924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7F5B507-E0F6-4A47-915B-200EDFDE98A7}"/>
              </a:ext>
            </a:extLst>
          </p:cNvPr>
          <p:cNvSpPr>
            <a:spLocks noGrp="1"/>
          </p:cNvSpPr>
          <p:nvPr>
            <p:ph type="ctrTitle"/>
          </p:nvPr>
        </p:nvSpPr>
        <p:spPr bwMode="invGray">
          <a:xfrm>
            <a:off x="1529542" y="1412874"/>
            <a:ext cx="9617825" cy="3311525"/>
          </a:xfrm>
        </p:spPr>
        <p:txBody>
          <a:bodyPr/>
          <a:lstStyle/>
          <a:p>
            <a:pPr algn="l"/>
            <a:r>
              <a:rPr lang="en-US" sz="4000" dirty="0"/>
              <a:t>„This is no time to </a:t>
            </a:r>
            <a:r>
              <a:rPr lang="pl-PL" sz="4000" dirty="0" err="1"/>
              <a:t>play</a:t>
            </a:r>
            <a:r>
              <a:rPr lang="pl-PL" sz="4000" dirty="0"/>
              <a:t> </a:t>
            </a:r>
            <a:r>
              <a:rPr lang="pl-PL" sz="4000" dirty="0" err="1"/>
              <a:t>safe</a:t>
            </a:r>
            <a:r>
              <a:rPr lang="en-US" sz="4000" dirty="0"/>
              <a:t>, it is time to be</a:t>
            </a:r>
            <a:r>
              <a:rPr lang="pl-PL" sz="4000" dirty="0"/>
              <a:t> </a:t>
            </a:r>
            <a:r>
              <a:rPr lang="pl-PL" sz="4000" dirty="0" err="1"/>
              <a:t>bold</a:t>
            </a:r>
            <a:r>
              <a:rPr lang="pl-PL" sz="4000" dirty="0"/>
              <a:t>.</a:t>
            </a:r>
            <a:r>
              <a:rPr lang="en-US" sz="4000" dirty="0"/>
              <a:t>” </a:t>
            </a:r>
            <a:br>
              <a:rPr lang="pl-PL" sz="4000" dirty="0"/>
            </a:br>
            <a:br>
              <a:rPr lang="pl-PL" sz="4000" dirty="0"/>
            </a:br>
            <a:r>
              <a:rPr lang="pl-PL" sz="4000" dirty="0"/>
              <a:t>					</a:t>
            </a:r>
            <a:r>
              <a:rPr lang="en-US" sz="2000" dirty="0"/>
              <a:t>– Bernd Spalt</a:t>
            </a:r>
            <a:r>
              <a:rPr lang="pl-PL" sz="2000"/>
              <a:t>, September 2024</a:t>
            </a:r>
            <a:endParaRPr lang="en-GB" sz="200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A78407D-52BE-2373-8814-8513B99051E8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453188"/>
            <a:ext cx="863600" cy="404812"/>
          </a:xfrm>
        </p:spPr>
        <p:txBody>
          <a:bodyPr/>
          <a:lstStyle/>
          <a:p>
            <a:fld id="{6EA49A54-F8DB-4ED8-8BEC-99AEB5471A08}" type="datetime1">
              <a:rPr lang="en-GB" noProof="0" smtClean="0"/>
              <a:t>20/10/2024</a:t>
            </a:fld>
            <a:endParaRPr lang="en-GB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326456-6342-C14E-F5AA-40EF51651F4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17325" y="6453188"/>
            <a:ext cx="574675" cy="404812"/>
          </a:xfrm>
        </p:spPr>
        <p:txBody>
          <a:bodyPr/>
          <a:lstStyle/>
          <a:p>
            <a:fld id="{CAEFDB47-5D1C-45E7-8BD0-EF74349B00F7}" type="slidenum">
              <a:rPr lang="en-GB" noProof="0" smtClean="0"/>
              <a:pPr/>
              <a:t>23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881598190"/>
      </p:ext>
    </p:extLst>
  </p:cSld>
  <p:clrMapOvr>
    <a:masterClrMapping/>
  </p:clrMapOvr>
  <p:transition spd="slow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05527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7F5B507-E0F6-4A47-915B-200EDFDE98A7}"/>
              </a:ext>
            </a:extLst>
          </p:cNvPr>
          <p:cNvSpPr>
            <a:spLocks noGrp="1"/>
          </p:cNvSpPr>
          <p:nvPr>
            <p:ph type="ctrTitle"/>
          </p:nvPr>
        </p:nvSpPr>
        <p:spPr bwMode="invGray">
          <a:xfrm>
            <a:off x="1529542" y="1412874"/>
            <a:ext cx="9617825" cy="3311525"/>
          </a:xfrm>
        </p:spPr>
        <p:txBody>
          <a:bodyPr anchor="t" anchorCtr="0"/>
          <a:lstStyle/>
          <a:p>
            <a:pPr algn="l"/>
            <a:r>
              <a:rPr lang="pl-PL" sz="4000" dirty="0"/>
              <a:t>Banks need revenues,</a:t>
            </a:r>
            <a:br>
              <a:rPr lang="pl-PL" sz="4000" dirty="0"/>
            </a:br>
            <a:br>
              <a:rPr lang="pl-PL" sz="4000" dirty="0"/>
            </a:br>
            <a:r>
              <a:rPr lang="pl-PL" sz="4000" dirty="0"/>
              <a:t>	Revenues need Clients,</a:t>
            </a:r>
            <a:endParaRPr lang="en-GB" sz="200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A78407D-52BE-2373-8814-8513B99051E8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453188"/>
            <a:ext cx="863600" cy="404812"/>
          </a:xfrm>
        </p:spPr>
        <p:txBody>
          <a:bodyPr/>
          <a:lstStyle/>
          <a:p>
            <a:fld id="{6EA49A54-F8DB-4ED8-8BEC-99AEB5471A08}" type="datetime1">
              <a:rPr lang="en-GB" noProof="0" smtClean="0"/>
              <a:t>20/10/2024</a:t>
            </a:fld>
            <a:endParaRPr lang="en-GB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326456-6342-C14E-F5AA-40EF51651F4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17325" y="6453188"/>
            <a:ext cx="574675" cy="404812"/>
          </a:xfrm>
        </p:spPr>
        <p:txBody>
          <a:bodyPr/>
          <a:lstStyle/>
          <a:p>
            <a:fld id="{CAEFDB47-5D1C-45E7-8BD0-EF74349B00F7}" type="slidenum">
              <a:rPr lang="en-GB" noProof="0" smtClean="0"/>
              <a:pPr/>
              <a:t>3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15653386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7F5B507-E0F6-4A47-915B-200EDFDE98A7}"/>
              </a:ext>
            </a:extLst>
          </p:cNvPr>
          <p:cNvSpPr>
            <a:spLocks noGrp="1"/>
          </p:cNvSpPr>
          <p:nvPr>
            <p:ph type="ctrTitle"/>
          </p:nvPr>
        </p:nvSpPr>
        <p:spPr bwMode="invGray">
          <a:xfrm>
            <a:off x="1529542" y="1412874"/>
            <a:ext cx="9617825" cy="3311525"/>
          </a:xfrm>
        </p:spPr>
        <p:txBody>
          <a:bodyPr anchor="t" anchorCtr="0"/>
          <a:lstStyle/>
          <a:p>
            <a:pPr algn="l"/>
            <a:r>
              <a:rPr lang="pl-PL" sz="4000" dirty="0"/>
              <a:t>Banks need revenues,</a:t>
            </a:r>
            <a:br>
              <a:rPr lang="pl-PL" sz="4000" dirty="0"/>
            </a:br>
            <a:br>
              <a:rPr lang="pl-PL" sz="4000" dirty="0"/>
            </a:br>
            <a:r>
              <a:rPr lang="pl-PL" sz="4000" dirty="0"/>
              <a:t>	Revenues need Clients,</a:t>
            </a:r>
            <a:br>
              <a:rPr lang="pl-PL" sz="4000" dirty="0"/>
            </a:br>
            <a:br>
              <a:rPr lang="pl-PL" sz="4000" dirty="0"/>
            </a:br>
            <a:r>
              <a:rPr lang="pl-PL" sz="4000" dirty="0"/>
              <a:t>		Clients need trust and feel </a:t>
            </a:r>
            <a:br>
              <a:rPr lang="pl-PL" sz="4000" dirty="0"/>
            </a:br>
            <a:r>
              <a:rPr lang="pl-PL" sz="4000" dirty="0"/>
              <a:t>					of importance</a:t>
            </a:r>
            <a:endParaRPr lang="en-GB" sz="200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A78407D-52BE-2373-8814-8513B99051E8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453188"/>
            <a:ext cx="863600" cy="404812"/>
          </a:xfrm>
        </p:spPr>
        <p:txBody>
          <a:bodyPr/>
          <a:lstStyle/>
          <a:p>
            <a:fld id="{6EA49A54-F8DB-4ED8-8BEC-99AEB5471A08}" type="datetime1">
              <a:rPr lang="en-GB" noProof="0" smtClean="0"/>
              <a:t>20/10/2024</a:t>
            </a:fld>
            <a:endParaRPr lang="en-GB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326456-6342-C14E-F5AA-40EF51651F4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17325" y="6453188"/>
            <a:ext cx="574675" cy="404812"/>
          </a:xfrm>
        </p:spPr>
        <p:txBody>
          <a:bodyPr/>
          <a:lstStyle/>
          <a:p>
            <a:fld id="{CAEFDB47-5D1C-45E7-8BD0-EF74349B00F7}" type="slidenum">
              <a:rPr lang="en-GB" noProof="0" smtClean="0"/>
              <a:pPr/>
              <a:t>4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92223515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61340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A628C08F-80FA-6F20-7584-435C5581AF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6000" y="2529000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28856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5084FB77-7D8B-5CA6-C032-DEABA7A108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6000" y="2529000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98999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743E4229-51FC-F31F-57AF-E4E13E403C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6000" y="2529000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79960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A628C08F-80FA-6F20-7584-435C5581AF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6000" y="2529000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30643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mmerzbank PowerPoint Template 2022">
  <a:themeElements>
    <a:clrScheme name="Commerzbank">
      <a:dk1>
        <a:srgbClr val="002E3C"/>
      </a:dk1>
      <a:lt1>
        <a:sysClr val="window" lastClr="FFFFFF"/>
      </a:lt1>
      <a:dk2>
        <a:srgbClr val="C3CAC8"/>
      </a:dk2>
      <a:lt2>
        <a:srgbClr val="537173"/>
      </a:lt2>
      <a:accent1>
        <a:srgbClr val="002E3C"/>
      </a:accent1>
      <a:accent2>
        <a:srgbClr val="FFD700"/>
      </a:accent2>
      <a:accent3>
        <a:srgbClr val="3A7E8A"/>
      </a:accent3>
      <a:accent4>
        <a:srgbClr val="9B5C2F"/>
      </a:accent4>
      <a:accent5>
        <a:srgbClr val="93C1B4"/>
      </a:accent5>
      <a:accent6>
        <a:srgbClr val="D6C18B"/>
      </a:accent6>
      <a:hlink>
        <a:srgbClr val="00414B"/>
      </a:hlink>
      <a:folHlink>
        <a:srgbClr val="00414B"/>
      </a:folHlink>
    </a:clrScheme>
    <a:fontScheme name="Commerz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ln>
          <a:noFill/>
        </a:ln>
      </a:spPr>
      <a:bodyPr lIns="72000" tIns="72000" rIns="72000" bIns="72000" rtlCol="0" anchor="ctr"/>
      <a:lstStyle>
        <a:defPPr algn="ctr">
          <a:lnSpc>
            <a:spcPct val="110000"/>
          </a:lnSpc>
          <a:spcBef>
            <a:spcPts val="600"/>
          </a:spcBef>
          <a:defRPr sz="12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t">
        <a:noAutofit/>
      </a:bodyPr>
      <a:lstStyle>
        <a:defPPr marL="180000" indent="-180000" algn="l">
          <a:lnSpc>
            <a:spcPct val="110000"/>
          </a:lnSpc>
          <a:spcBef>
            <a:spcPts val="600"/>
          </a:spcBef>
          <a:buClr>
            <a:schemeClr val="accent2"/>
          </a:buClr>
          <a:buSzPct val="110000"/>
          <a:buFont typeface="Arial" panose="020B0604020202020204" pitchFamily="34" charset="0"/>
          <a:buChar char="●"/>
          <a:defRPr sz="1200" dirty="0" err="1" smtClean="0"/>
        </a:defPPr>
      </a:lstStyle>
    </a:txDef>
  </a:objectDefaults>
  <a:extraClrSchemeLst/>
  <a:custClrLst>
    <a:custClr name="Yellow">
      <a:srgbClr val="FFD700"/>
    </a:custClr>
    <a:custClr name="Ocean-Petrol-Sand 2">
      <a:srgbClr val="537173"/>
    </a:custClr>
    <a:custClr name="Ocean-Petrol-Sand 6">
      <a:srgbClr val="E0E0DD"/>
    </a:custClr>
    <a:custClr name="Ocean-Petrol">
      <a:srgbClr val="002E3C"/>
    </a:custClr>
    <a:custClr name="Ocean-Petrol-Sand 5">
      <a:srgbClr val="C3CAC8"/>
    </a:custClr>
    <a:custClr name="Ocean-Petrol-Sand 3">
      <a:srgbClr val="778F8D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Ocean-Petrol">
      <a:srgbClr val="002E3C"/>
    </a:custClr>
    <a:custClr name="Ocean-Petrol-Sand 1">
      <a:srgbClr val="304D4A"/>
    </a:custClr>
    <a:custClr name="Ocean-Petrol-Sand 2">
      <a:srgbClr val="537173"/>
    </a:custClr>
    <a:custClr name="Ocean-Petrol-Sand 3">
      <a:srgbClr val="778F8D"/>
    </a:custClr>
    <a:custClr name="Ocean-Petrol-Sand 4">
      <a:srgbClr val="A0AEAC"/>
    </a:custClr>
    <a:custClr name="Ocean-Petrol-Sand 5">
      <a:srgbClr val="C3CAC8"/>
    </a:custClr>
    <a:custClr name="Ocean-Petrol-Sand 6">
      <a:srgbClr val="E0E0DD"/>
    </a:custClr>
    <a:custClr name="Error">
      <a:srgbClr val="DB000F"/>
    </a:custClr>
    <a:custClr name="Warning">
      <a:srgbClr val="F49300"/>
    </a:custClr>
    <a:custClr name="Success">
      <a:srgbClr val="009E39"/>
    </a:custClr>
    <a:custClr name="Coast">
      <a:srgbClr val="3A7E8A"/>
    </a:custClr>
    <a:custClr name="Mint">
      <a:srgbClr val="93C1B4"/>
    </a:custClr>
    <a:custClr name="Pistachio">
      <a:srgbClr val="D5DBB6"/>
    </a:custClr>
    <a:custClr name="Harvest">
      <a:srgbClr val="D6C18B"/>
    </a:custClr>
    <a:custClr name="Maple">
      <a:srgbClr val="BF925E"/>
    </a:custClr>
    <a:custClr name="Clay">
      <a:srgbClr val="9B5C2F"/>
    </a:custClr>
    <a:custClr name="Sand">
      <a:srgbClr val="EBEAE6"/>
    </a:custClr>
  </a:custClrLst>
  <a:extLst>
    <a:ext uri="{05A4C25C-085E-4340-85A3-A5531E510DB2}">
      <thm15:themeFamily xmlns:thm15="http://schemas.microsoft.com/office/thememl/2012/main" name="Präsentation6" id="{2F4564F1-AC02-4CFF-B209-9E4D8D1B1B04}" vid="{2E34199C-A05A-4539-84F1-C784D91E47B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c1e4dc5c-6c21-486a-be40-501b7122a21e}" enabled="1" method="Privileged" siteId="{2d75a51b-29e5-45d5-a5c5-5aa979cb6a28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7</Words>
  <Application>Microsoft Office PowerPoint</Application>
  <PresentationFormat>Widescreen</PresentationFormat>
  <Paragraphs>17</Paragraphs>
  <Slides>2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Aptos</vt:lpstr>
      <vt:lpstr>Arial</vt:lpstr>
      <vt:lpstr>Calibri</vt:lpstr>
      <vt:lpstr>Commerzbank PowerPoint Template 2022</vt:lpstr>
      <vt:lpstr>think-cell Slide</vt:lpstr>
      <vt:lpstr>PowerPoint Presentation</vt:lpstr>
      <vt:lpstr>Banks need revenues, </vt:lpstr>
      <vt:lpstr>Banks need revenues,   Revenues need Clients,</vt:lpstr>
      <vt:lpstr>Banks need revenues,   Revenues need Clients,    Clients need trust and feel       of importan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„This is no time to play safe, it is time to be bold.”        – Bernd Spalt, September 2024</vt:lpstr>
      <vt:lpstr>PowerPoint Presentation</vt:lpstr>
    </vt:vector>
  </TitlesOfParts>
  <Company>Commerzbank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ntosiak, Marcel</dc:creator>
  <cp:lastModifiedBy>Malinowski, Maciej</cp:lastModifiedBy>
  <cp:revision>12</cp:revision>
  <dcterms:created xsi:type="dcterms:W3CDTF">2024-10-19T08:21:26Z</dcterms:created>
  <dcterms:modified xsi:type="dcterms:W3CDTF">2024-10-20T09:22:36Z</dcterms:modified>
</cp:coreProperties>
</file>